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27"/>
  </p:notesMasterIdLst>
  <p:sldIdLst>
    <p:sldId id="3453" r:id="rId6"/>
    <p:sldId id="3519" r:id="rId7"/>
    <p:sldId id="3543" r:id="rId8"/>
    <p:sldId id="3526" r:id="rId9"/>
    <p:sldId id="3532" r:id="rId10"/>
    <p:sldId id="3534" r:id="rId11"/>
    <p:sldId id="3542" r:id="rId12"/>
    <p:sldId id="3541" r:id="rId13"/>
    <p:sldId id="3522" r:id="rId14"/>
    <p:sldId id="3551" r:id="rId15"/>
    <p:sldId id="3552" r:id="rId16"/>
    <p:sldId id="3553" r:id="rId17"/>
    <p:sldId id="3554" r:id="rId18"/>
    <p:sldId id="3524" r:id="rId19"/>
    <p:sldId id="3527" r:id="rId20"/>
    <p:sldId id="3528" r:id="rId21"/>
    <p:sldId id="3530" r:id="rId22"/>
    <p:sldId id="3537" r:id="rId23"/>
    <p:sldId id="3555" r:id="rId24"/>
    <p:sldId id="3556" r:id="rId25"/>
    <p:sldId id="3557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CEF7"/>
    <a:srgbClr val="004890"/>
    <a:srgbClr val="F37021"/>
    <a:srgbClr val="A6A6A6"/>
    <a:srgbClr val="B22222"/>
    <a:srgbClr val="BFBFBF"/>
    <a:srgbClr val="007DFA"/>
    <a:srgbClr val="1188FF"/>
    <a:srgbClr val="3F73A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35753B-05ED-4D29-AF96-F8ACCFFB3A0B}" v="9988" dt="2025-11-18T17:46:44.580"/>
    <p1510:client id="{5AD684F3-C907-A249-AC0B-DD036C996040}" v="1" dt="2025-11-16T20:36:46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iter, Tristan Kilian" userId="aff616bd-4ba4-4d5a-a6ae-24fbc901fafd" providerId="ADAL" clId="{D292643D-2054-4A69-9325-26675E8D7072}"/>
    <pc:docChg chg="undo custSel addSld delSld modSld sldOrd modMainMaster">
      <pc:chgData name="Leiter, Tristan Kilian" userId="aff616bd-4ba4-4d5a-a6ae-24fbc901fafd" providerId="ADAL" clId="{D292643D-2054-4A69-9325-26675E8D7072}" dt="2025-11-18T17:46:44.580" v="18813" actId="1076"/>
      <pc:docMkLst>
        <pc:docMk/>
      </pc:docMkLst>
      <pc:sldChg chg="modSp mod">
        <pc:chgData name="Leiter, Tristan Kilian" userId="aff616bd-4ba4-4d5a-a6ae-24fbc901fafd" providerId="ADAL" clId="{D292643D-2054-4A69-9325-26675E8D7072}" dt="2025-11-18T17:30:09.666" v="18688" actId="20577"/>
        <pc:sldMkLst>
          <pc:docMk/>
          <pc:sldMk cId="1672210218" sldId="3453"/>
        </pc:sldMkLst>
        <pc:spChg chg="mod">
          <ac:chgData name="Leiter, Tristan Kilian" userId="aff616bd-4ba4-4d5a-a6ae-24fbc901fafd" providerId="ADAL" clId="{D292643D-2054-4A69-9325-26675E8D7072}" dt="2025-11-14T20:24:30.564" v="29" actId="207"/>
          <ac:spMkLst>
            <pc:docMk/>
            <pc:sldMk cId="1672210218" sldId="3453"/>
            <ac:spMk id="3" creationId="{CA024204-94AF-6347-A915-53567D9CE7D8}"/>
          </ac:spMkLst>
        </pc:spChg>
        <pc:spChg chg="mod">
          <ac:chgData name="Leiter, Tristan Kilian" userId="aff616bd-4ba4-4d5a-a6ae-24fbc901fafd" providerId="ADAL" clId="{D292643D-2054-4A69-9325-26675E8D7072}" dt="2025-11-14T20:24:30.985" v="30" actId="207"/>
          <ac:spMkLst>
            <pc:docMk/>
            <pc:sldMk cId="1672210218" sldId="3453"/>
            <ac:spMk id="4" creationId="{F0DC8F19-0213-1E44-991F-A7C5AF1821E9}"/>
          </ac:spMkLst>
        </pc:spChg>
        <pc:spChg chg="mod">
          <ac:chgData name="Leiter, Tristan Kilian" userId="aff616bd-4ba4-4d5a-a6ae-24fbc901fafd" providerId="ADAL" clId="{D292643D-2054-4A69-9325-26675E8D7072}" dt="2025-11-14T20:23:58.924" v="26" actId="20577"/>
          <ac:spMkLst>
            <pc:docMk/>
            <pc:sldMk cId="1672210218" sldId="3453"/>
            <ac:spMk id="6" creationId="{68C847F1-C061-9F8F-8957-8C370FCD826E}"/>
          </ac:spMkLst>
        </pc:spChg>
        <pc:spChg chg="mod">
          <ac:chgData name="Leiter, Tristan Kilian" userId="aff616bd-4ba4-4d5a-a6ae-24fbc901fafd" providerId="ADAL" clId="{D292643D-2054-4A69-9325-26675E8D7072}" dt="2025-11-18T17:30:09.666" v="18688" actId="20577"/>
          <ac:spMkLst>
            <pc:docMk/>
            <pc:sldMk cId="1672210218" sldId="3453"/>
            <ac:spMk id="23" creationId="{E75E8FBC-CB8F-F644-BD07-D00960F74B91}"/>
          </ac:spMkLst>
        </pc:spChg>
      </pc:sldChg>
      <pc:sldChg chg="del">
        <pc:chgData name="Leiter, Tristan Kilian" userId="aff616bd-4ba4-4d5a-a6ae-24fbc901fafd" providerId="ADAL" clId="{D292643D-2054-4A69-9325-26675E8D7072}" dt="2025-11-15T18:19:29.281" v="8233" actId="47"/>
        <pc:sldMkLst>
          <pc:docMk/>
          <pc:sldMk cId="1425541265" sldId="3500"/>
        </pc:sldMkLst>
      </pc:sldChg>
      <pc:sldChg chg="modSp add del mod ord">
        <pc:chgData name="Leiter, Tristan Kilian" userId="aff616bd-4ba4-4d5a-a6ae-24fbc901fafd" providerId="ADAL" clId="{D292643D-2054-4A69-9325-26675E8D7072}" dt="2025-11-16T19:47:10.448" v="17689" actId="47"/>
        <pc:sldMkLst>
          <pc:docMk/>
          <pc:sldMk cId="1443544784" sldId="3502"/>
        </pc:sldMkLst>
      </pc:sldChg>
      <pc:sldChg chg="del">
        <pc:chgData name="Leiter, Tristan Kilian" userId="aff616bd-4ba4-4d5a-a6ae-24fbc901fafd" providerId="ADAL" clId="{D292643D-2054-4A69-9325-26675E8D7072}" dt="2025-11-15T18:19:01.333" v="8226" actId="47"/>
        <pc:sldMkLst>
          <pc:docMk/>
          <pc:sldMk cId="351932028" sldId="3506"/>
        </pc:sldMkLst>
      </pc:sldChg>
      <pc:sldChg chg="del">
        <pc:chgData name="Leiter, Tristan Kilian" userId="aff616bd-4ba4-4d5a-a6ae-24fbc901fafd" providerId="ADAL" clId="{D292643D-2054-4A69-9325-26675E8D7072}" dt="2025-11-15T18:19:29.281" v="8233" actId="47"/>
        <pc:sldMkLst>
          <pc:docMk/>
          <pc:sldMk cId="2405085911" sldId="3510"/>
        </pc:sldMkLst>
      </pc:sldChg>
      <pc:sldChg chg="del">
        <pc:chgData name="Leiter, Tristan Kilian" userId="aff616bd-4ba4-4d5a-a6ae-24fbc901fafd" providerId="ADAL" clId="{D292643D-2054-4A69-9325-26675E8D7072}" dt="2025-11-15T18:19:11.158" v="8227" actId="47"/>
        <pc:sldMkLst>
          <pc:docMk/>
          <pc:sldMk cId="1688583701" sldId="3514"/>
        </pc:sldMkLst>
      </pc:sldChg>
      <pc:sldChg chg="del">
        <pc:chgData name="Leiter, Tristan Kilian" userId="aff616bd-4ba4-4d5a-a6ae-24fbc901fafd" providerId="ADAL" clId="{D292643D-2054-4A69-9325-26675E8D7072}" dt="2025-11-15T18:18:57.090" v="8224" actId="47"/>
        <pc:sldMkLst>
          <pc:docMk/>
          <pc:sldMk cId="640855340" sldId="3516"/>
        </pc:sldMkLst>
      </pc:sldChg>
      <pc:sldChg chg="del">
        <pc:chgData name="Leiter, Tristan Kilian" userId="aff616bd-4ba4-4d5a-a6ae-24fbc901fafd" providerId="ADAL" clId="{D292643D-2054-4A69-9325-26675E8D7072}" dt="2025-11-15T18:19:00.153" v="8225" actId="47"/>
        <pc:sldMkLst>
          <pc:docMk/>
          <pc:sldMk cId="1549508403" sldId="3517"/>
        </pc:sldMkLst>
      </pc:sldChg>
      <pc:sldChg chg="del">
        <pc:chgData name="Leiter, Tristan Kilian" userId="aff616bd-4ba4-4d5a-a6ae-24fbc901fafd" providerId="ADAL" clId="{D292643D-2054-4A69-9325-26675E8D7072}" dt="2025-11-15T18:19:29.281" v="8233" actId="47"/>
        <pc:sldMkLst>
          <pc:docMk/>
          <pc:sldMk cId="2591337457" sldId="3518"/>
        </pc:sldMkLst>
      </pc:sldChg>
      <pc:sldChg chg="addSp modSp new mod">
        <pc:chgData name="Leiter, Tristan Kilian" userId="aff616bd-4ba4-4d5a-a6ae-24fbc901fafd" providerId="ADAL" clId="{D292643D-2054-4A69-9325-26675E8D7072}" dt="2025-11-18T17:37:06.345" v="18690" actId="20577"/>
        <pc:sldMkLst>
          <pc:docMk/>
          <pc:sldMk cId="1458608884" sldId="3519"/>
        </pc:sldMkLst>
        <pc:spChg chg="mod">
          <ac:chgData name="Leiter, Tristan Kilian" userId="aff616bd-4ba4-4d5a-a6ae-24fbc901fafd" providerId="ADAL" clId="{D292643D-2054-4A69-9325-26675E8D7072}" dt="2025-11-14T20:30:47.041" v="341" actId="20577"/>
          <ac:spMkLst>
            <pc:docMk/>
            <pc:sldMk cId="1458608884" sldId="3519"/>
            <ac:spMk id="2" creationId="{2DC8EDE1-BED7-5EFF-3C18-4D9C35104B1E}"/>
          </ac:spMkLst>
        </pc:spChg>
        <pc:spChg chg="mod">
          <ac:chgData name="Leiter, Tristan Kilian" userId="aff616bd-4ba4-4d5a-a6ae-24fbc901fafd" providerId="ADAL" clId="{D292643D-2054-4A69-9325-26675E8D7072}" dt="2025-11-18T17:37:06.345" v="18690" actId="20577"/>
          <ac:spMkLst>
            <pc:docMk/>
            <pc:sldMk cId="1458608884" sldId="3519"/>
            <ac:spMk id="3" creationId="{A6C37584-B60D-3361-59C7-B081EA9D3F05}"/>
          </ac:spMkLst>
        </pc:spChg>
        <pc:spChg chg="add mod">
          <ac:chgData name="Leiter, Tristan Kilian" userId="aff616bd-4ba4-4d5a-a6ae-24fbc901fafd" providerId="ADAL" clId="{D292643D-2054-4A69-9325-26675E8D7072}" dt="2025-11-15T12:18:43.105" v="2310"/>
          <ac:spMkLst>
            <pc:docMk/>
            <pc:sldMk cId="1458608884" sldId="3519"/>
            <ac:spMk id="4" creationId="{57C039D8-E707-BFE4-15FE-0585A9DF94DC}"/>
          </ac:spMkLst>
        </pc:spChg>
        <pc:spChg chg="add mod">
          <ac:chgData name="Leiter, Tristan Kilian" userId="aff616bd-4ba4-4d5a-a6ae-24fbc901fafd" providerId="ADAL" clId="{D292643D-2054-4A69-9325-26675E8D7072}" dt="2025-11-16T19:48:07.355" v="17715" actId="12"/>
          <ac:spMkLst>
            <pc:docMk/>
            <pc:sldMk cId="1458608884" sldId="3519"/>
            <ac:spMk id="5" creationId="{D9D7DD8A-9C4E-B828-A33F-9781AEE8DA41}"/>
          </ac:spMkLst>
        </pc:spChg>
        <pc:spChg chg="add mod">
          <ac:chgData name="Leiter, Tristan Kilian" userId="aff616bd-4ba4-4d5a-a6ae-24fbc901fafd" providerId="ADAL" clId="{D292643D-2054-4A69-9325-26675E8D7072}" dt="2025-11-16T19:48:47.654" v="17728" actId="113"/>
          <ac:spMkLst>
            <pc:docMk/>
            <pc:sldMk cId="1458608884" sldId="3519"/>
            <ac:spMk id="6" creationId="{021E9ED7-8C8B-3199-722C-33C73E8E560C}"/>
          </ac:spMkLst>
        </pc:spChg>
        <pc:picChg chg="add mod">
          <ac:chgData name="Leiter, Tristan Kilian" userId="aff616bd-4ba4-4d5a-a6ae-24fbc901fafd" providerId="ADAL" clId="{D292643D-2054-4A69-9325-26675E8D7072}" dt="2025-11-15T17:23:50.982" v="4625" actId="1076"/>
          <ac:picMkLst>
            <pc:docMk/>
            <pc:sldMk cId="1458608884" sldId="3519"/>
            <ac:picMk id="1026" creationId="{FDD60117-1353-0CD5-EF15-2D15620C9780}"/>
          </ac:picMkLst>
        </pc:picChg>
      </pc:sldChg>
      <pc:sldChg chg="addSp delSp modSp new del mod modNotesTx">
        <pc:chgData name="Leiter, Tristan Kilian" userId="aff616bd-4ba4-4d5a-a6ae-24fbc901fafd" providerId="ADAL" clId="{D292643D-2054-4A69-9325-26675E8D7072}" dt="2025-11-16T18:31:12.599" v="12102" actId="47"/>
        <pc:sldMkLst>
          <pc:docMk/>
          <pc:sldMk cId="1999772108" sldId="3520"/>
        </pc:sldMkLst>
      </pc:sldChg>
      <pc:sldChg chg="addSp delSp modSp new del mod">
        <pc:chgData name="Leiter, Tristan Kilian" userId="aff616bd-4ba4-4d5a-a6ae-24fbc901fafd" providerId="ADAL" clId="{D292643D-2054-4A69-9325-26675E8D7072}" dt="2025-11-16T18:29:20.800" v="12062" actId="47"/>
        <pc:sldMkLst>
          <pc:docMk/>
          <pc:sldMk cId="1222894256" sldId="3521"/>
        </pc:sldMkLst>
      </pc:sldChg>
      <pc:sldChg chg="addSp delSp modSp new mod modNotesTx">
        <pc:chgData name="Leiter, Tristan Kilian" userId="aff616bd-4ba4-4d5a-a6ae-24fbc901fafd" providerId="ADAL" clId="{D292643D-2054-4A69-9325-26675E8D7072}" dt="2025-11-18T17:39:37.450" v="18758" actId="20577"/>
        <pc:sldMkLst>
          <pc:docMk/>
          <pc:sldMk cId="2479688179" sldId="3522"/>
        </pc:sldMkLst>
        <pc:spChg chg="mod">
          <ac:chgData name="Leiter, Tristan Kilian" userId="aff616bd-4ba4-4d5a-a6ae-24fbc901fafd" providerId="ADAL" clId="{D292643D-2054-4A69-9325-26675E8D7072}" dt="2025-11-15T18:17:32.246" v="8020" actId="20577"/>
          <ac:spMkLst>
            <pc:docMk/>
            <pc:sldMk cId="2479688179" sldId="3522"/>
            <ac:spMk id="2" creationId="{D29A0264-86F6-0C51-73F5-B0C25F5E1D9D}"/>
          </ac:spMkLst>
        </pc:spChg>
        <pc:spChg chg="mod">
          <ac:chgData name="Leiter, Tristan Kilian" userId="aff616bd-4ba4-4d5a-a6ae-24fbc901fafd" providerId="ADAL" clId="{D292643D-2054-4A69-9325-26675E8D7072}" dt="2025-11-16T18:42:27.631" v="13039" actId="20577"/>
          <ac:spMkLst>
            <pc:docMk/>
            <pc:sldMk cId="2479688179" sldId="3522"/>
            <ac:spMk id="3" creationId="{87CA4D8F-66A7-A66D-1E59-DA523A751800}"/>
          </ac:spMkLst>
        </pc:spChg>
        <pc:spChg chg="mod">
          <ac:chgData name="Leiter, Tristan Kilian" userId="aff616bd-4ba4-4d5a-a6ae-24fbc901fafd" providerId="ADAL" clId="{D292643D-2054-4A69-9325-26675E8D7072}" dt="2025-11-16T18:32:19.622" v="12284" actId="1037"/>
          <ac:spMkLst>
            <pc:docMk/>
            <pc:sldMk cId="2479688179" sldId="3522"/>
            <ac:spMk id="9" creationId="{2F78D2B3-D1A5-0D05-3584-CC5D6369B2E1}"/>
          </ac:spMkLst>
        </pc:spChg>
        <pc:spChg chg="add mod">
          <ac:chgData name="Leiter, Tristan Kilian" userId="aff616bd-4ba4-4d5a-a6ae-24fbc901fafd" providerId="ADAL" clId="{D292643D-2054-4A69-9325-26675E8D7072}" dt="2025-11-18T17:39:37.450" v="18758" actId="20577"/>
          <ac:spMkLst>
            <pc:docMk/>
            <pc:sldMk cId="2479688179" sldId="3522"/>
            <ac:spMk id="11" creationId="{4DA0A40C-DF93-E50E-9CC1-0ED0CB2EC71F}"/>
          </ac:spMkLst>
        </pc:spChg>
        <pc:spChg chg="mod">
          <ac:chgData name="Leiter, Tristan Kilian" userId="aff616bd-4ba4-4d5a-a6ae-24fbc901fafd" providerId="ADAL" clId="{D292643D-2054-4A69-9325-26675E8D7072}" dt="2025-11-16T18:21:40.327" v="11189"/>
          <ac:spMkLst>
            <pc:docMk/>
            <pc:sldMk cId="2479688179" sldId="3522"/>
            <ac:spMk id="14" creationId="{F8300A76-BEF7-E4BE-4D80-3C3C6B1AB877}"/>
          </ac:spMkLst>
        </pc:spChg>
        <pc:spChg chg="mod">
          <ac:chgData name="Leiter, Tristan Kilian" userId="aff616bd-4ba4-4d5a-a6ae-24fbc901fafd" providerId="ADAL" clId="{D292643D-2054-4A69-9325-26675E8D7072}" dt="2025-11-16T18:21:40.327" v="11189"/>
          <ac:spMkLst>
            <pc:docMk/>
            <pc:sldMk cId="2479688179" sldId="3522"/>
            <ac:spMk id="15" creationId="{25416CA6-5F4E-BC34-D7C6-A3B917A9452B}"/>
          </ac:spMkLst>
        </pc:spChg>
        <pc:spChg chg="add mod">
          <ac:chgData name="Leiter, Tristan Kilian" userId="aff616bd-4ba4-4d5a-a6ae-24fbc901fafd" providerId="ADAL" clId="{D292643D-2054-4A69-9325-26675E8D7072}" dt="2025-11-16T18:22:59.338" v="11276" actId="113"/>
          <ac:spMkLst>
            <pc:docMk/>
            <pc:sldMk cId="2479688179" sldId="3522"/>
            <ac:spMk id="21" creationId="{E03CAF4A-130F-8279-A906-E3C2E2F6DEBD}"/>
          </ac:spMkLst>
        </pc:spChg>
        <pc:spChg chg="mod">
          <ac:chgData name="Leiter, Tristan Kilian" userId="aff616bd-4ba4-4d5a-a6ae-24fbc901fafd" providerId="ADAL" clId="{D292643D-2054-4A69-9325-26675E8D7072}" dt="2025-11-16T18:32:43.710" v="12288"/>
          <ac:spMkLst>
            <pc:docMk/>
            <pc:sldMk cId="2479688179" sldId="3522"/>
            <ac:spMk id="27" creationId="{966E2687-5F3F-C46A-8F83-BE134B3C3037}"/>
          </ac:spMkLst>
        </pc:spChg>
        <pc:spChg chg="mod">
          <ac:chgData name="Leiter, Tristan Kilian" userId="aff616bd-4ba4-4d5a-a6ae-24fbc901fafd" providerId="ADAL" clId="{D292643D-2054-4A69-9325-26675E8D7072}" dt="2025-11-16T18:32:43.710" v="12288"/>
          <ac:spMkLst>
            <pc:docMk/>
            <pc:sldMk cId="2479688179" sldId="3522"/>
            <ac:spMk id="28" creationId="{172ADE0A-6313-8867-A8B1-0694E3348CBD}"/>
          </ac:spMkLst>
        </pc:spChg>
        <pc:spChg chg="add mod">
          <ac:chgData name="Leiter, Tristan Kilian" userId="aff616bd-4ba4-4d5a-a6ae-24fbc901fafd" providerId="ADAL" clId="{D292643D-2054-4A69-9325-26675E8D7072}" dt="2025-11-16T18:42:11.129" v="13002" actId="20577"/>
          <ac:spMkLst>
            <pc:docMk/>
            <pc:sldMk cId="2479688179" sldId="3522"/>
            <ac:spMk id="29" creationId="{7718618F-6503-23C9-41B6-A29A055A007A}"/>
          </ac:spMkLst>
        </pc:spChg>
        <pc:grpChg chg="add mod">
          <ac:chgData name="Leiter, Tristan Kilian" userId="aff616bd-4ba4-4d5a-a6ae-24fbc901fafd" providerId="ADAL" clId="{D292643D-2054-4A69-9325-26675E8D7072}" dt="2025-11-16T18:31:57.373" v="12171" actId="1036"/>
          <ac:grpSpMkLst>
            <pc:docMk/>
            <pc:sldMk cId="2479688179" sldId="3522"/>
            <ac:grpSpMk id="8" creationId="{948ECFA2-3689-5AFA-7984-D8177D55C229}"/>
          </ac:grpSpMkLst>
        </pc:grpChg>
        <pc:grpChg chg="add mod">
          <ac:chgData name="Leiter, Tristan Kilian" userId="aff616bd-4ba4-4d5a-a6ae-24fbc901fafd" providerId="ADAL" clId="{D292643D-2054-4A69-9325-26675E8D7072}" dt="2025-11-16T18:55:43.304" v="13439" actId="1036"/>
          <ac:grpSpMkLst>
            <pc:docMk/>
            <pc:sldMk cId="2479688179" sldId="3522"/>
            <ac:grpSpMk id="13" creationId="{ABAB97A2-F784-EB11-F608-035BB0BEBCC3}"/>
          </ac:grpSpMkLst>
        </pc:grpChg>
        <pc:grpChg chg="add mod">
          <ac:chgData name="Leiter, Tristan Kilian" userId="aff616bd-4ba4-4d5a-a6ae-24fbc901fafd" providerId="ADAL" clId="{D292643D-2054-4A69-9325-26675E8D7072}" dt="2025-11-16T18:32:43.710" v="12288"/>
          <ac:grpSpMkLst>
            <pc:docMk/>
            <pc:sldMk cId="2479688179" sldId="3522"/>
            <ac:grpSpMk id="26" creationId="{E34AE804-C572-E7D1-0EE8-795ABC6C30F0}"/>
          </ac:grpSpMkLst>
        </pc:grpChg>
        <pc:picChg chg="add mod">
          <ac:chgData name="Leiter, Tristan Kilian" userId="aff616bd-4ba4-4d5a-a6ae-24fbc901fafd" providerId="ADAL" clId="{D292643D-2054-4A69-9325-26675E8D7072}" dt="2025-11-16T18:31:42.727" v="12103" actId="14100"/>
          <ac:picMkLst>
            <pc:docMk/>
            <pc:sldMk cId="2479688179" sldId="3522"/>
            <ac:picMk id="7" creationId="{D3B8D63A-3721-7E27-978E-66EE1A937882}"/>
          </ac:picMkLst>
        </pc:picChg>
        <pc:cxnChg chg="mod">
          <ac:chgData name="Leiter, Tristan Kilian" userId="aff616bd-4ba4-4d5a-a6ae-24fbc901fafd" providerId="ADAL" clId="{D292643D-2054-4A69-9325-26675E8D7072}" dt="2025-11-16T18:32:25.212" v="12285" actId="14100"/>
          <ac:cxnSpMkLst>
            <pc:docMk/>
            <pc:sldMk cId="2479688179" sldId="3522"/>
            <ac:cxnSpMk id="10" creationId="{FD63ACC5-EDDE-BD02-8686-762F4AFEEE3F}"/>
          </ac:cxnSpMkLst>
        </pc:cxnChg>
        <pc:cxnChg chg="add mod">
          <ac:chgData name="Leiter, Tristan Kilian" userId="aff616bd-4ba4-4d5a-a6ae-24fbc901fafd" providerId="ADAL" clId="{D292643D-2054-4A69-9325-26675E8D7072}" dt="2025-11-16T18:32:08.838" v="12173" actId="14100"/>
          <ac:cxnSpMkLst>
            <pc:docMk/>
            <pc:sldMk cId="2479688179" sldId="3522"/>
            <ac:cxnSpMk id="12" creationId="{D36ABDEF-99DA-D921-4890-B63E1D4CB81B}"/>
          </ac:cxnSpMkLst>
        </pc:cxnChg>
        <pc:cxnChg chg="add mod ord">
          <ac:chgData name="Leiter, Tristan Kilian" userId="aff616bd-4ba4-4d5a-a6ae-24fbc901fafd" providerId="ADAL" clId="{D292643D-2054-4A69-9325-26675E8D7072}" dt="2025-11-16T18:32:03.880" v="12172" actId="14100"/>
          <ac:cxnSpMkLst>
            <pc:docMk/>
            <pc:sldMk cId="2479688179" sldId="3522"/>
            <ac:cxnSpMk id="19" creationId="{3EFFBAC6-6E75-E95F-02AA-1A22879FACCC}"/>
          </ac:cxnSpMkLst>
        </pc:cxnChg>
        <pc:cxnChg chg="add mod">
          <ac:chgData name="Leiter, Tristan Kilian" userId="aff616bd-4ba4-4d5a-a6ae-24fbc901fafd" providerId="ADAL" clId="{D292643D-2054-4A69-9325-26675E8D7072}" dt="2025-11-16T18:32:43.710" v="12288"/>
          <ac:cxnSpMkLst>
            <pc:docMk/>
            <pc:sldMk cId="2479688179" sldId="3522"/>
            <ac:cxnSpMk id="25" creationId="{7CDF22C7-C631-32D9-F777-C678C29823CF}"/>
          </ac:cxnSpMkLst>
        </pc:cxnChg>
      </pc:sldChg>
      <pc:sldChg chg="addSp modSp add del mod">
        <pc:chgData name="Leiter, Tristan Kilian" userId="aff616bd-4ba4-4d5a-a6ae-24fbc901fafd" providerId="ADAL" clId="{D292643D-2054-4A69-9325-26675E8D7072}" dt="2025-11-15T18:16:08.677" v="7822" actId="47"/>
        <pc:sldMkLst>
          <pc:docMk/>
          <pc:sldMk cId="880881740" sldId="3523"/>
        </pc:sldMkLst>
      </pc:sldChg>
      <pc:sldChg chg="addSp delSp modSp add mod modClrScheme chgLayout">
        <pc:chgData name="Leiter, Tristan Kilian" userId="aff616bd-4ba4-4d5a-a6ae-24fbc901fafd" providerId="ADAL" clId="{D292643D-2054-4A69-9325-26675E8D7072}" dt="2025-11-15T12:25:52.942" v="3149" actId="1076"/>
        <pc:sldMkLst>
          <pc:docMk/>
          <pc:sldMk cId="520380463" sldId="3524"/>
        </pc:sldMkLst>
        <pc:spChg chg="mod ord">
          <ac:chgData name="Leiter, Tristan Kilian" userId="aff616bd-4ba4-4d5a-a6ae-24fbc901fafd" providerId="ADAL" clId="{D292643D-2054-4A69-9325-26675E8D7072}" dt="2025-11-15T12:25:31.429" v="3138" actId="20577"/>
          <ac:spMkLst>
            <pc:docMk/>
            <pc:sldMk cId="520380463" sldId="3524"/>
            <ac:spMk id="3" creationId="{4C3419AD-62CE-9DF4-4180-9AE937653168}"/>
          </ac:spMkLst>
        </pc:spChg>
        <pc:spChg chg="add mod">
          <ac:chgData name="Leiter, Tristan Kilian" userId="aff616bd-4ba4-4d5a-a6ae-24fbc901fafd" providerId="ADAL" clId="{D292643D-2054-4A69-9325-26675E8D7072}" dt="2025-11-15T12:25:46.877" v="3146" actId="14100"/>
          <ac:spMkLst>
            <pc:docMk/>
            <pc:sldMk cId="520380463" sldId="3524"/>
            <ac:spMk id="4" creationId="{DE7A4A16-9116-47F0-F9DB-04FB46730205}"/>
          </ac:spMkLst>
        </pc:spChg>
        <pc:picChg chg="add mod">
          <ac:chgData name="Leiter, Tristan Kilian" userId="aff616bd-4ba4-4d5a-a6ae-24fbc901fafd" providerId="ADAL" clId="{D292643D-2054-4A69-9325-26675E8D7072}" dt="2025-11-15T12:25:52.942" v="3149" actId="1076"/>
          <ac:picMkLst>
            <pc:docMk/>
            <pc:sldMk cId="520380463" sldId="3524"/>
            <ac:picMk id="6" creationId="{7DE260F4-CD5E-2989-6614-5AAFE90EF690}"/>
          </ac:picMkLst>
        </pc:picChg>
      </pc:sldChg>
      <pc:sldChg chg="addSp modSp add del mod modClrScheme chgLayout">
        <pc:chgData name="Leiter, Tristan Kilian" userId="aff616bd-4ba4-4d5a-a6ae-24fbc901fafd" providerId="ADAL" clId="{D292643D-2054-4A69-9325-26675E8D7072}" dt="2025-11-15T12:25:14.895" v="3115" actId="47"/>
        <pc:sldMkLst>
          <pc:docMk/>
          <pc:sldMk cId="235760555" sldId="3525"/>
        </pc:sldMkLst>
      </pc:sldChg>
      <pc:sldChg chg="addSp delSp modSp add mod">
        <pc:chgData name="Leiter, Tristan Kilian" userId="aff616bd-4ba4-4d5a-a6ae-24fbc901fafd" providerId="ADAL" clId="{D292643D-2054-4A69-9325-26675E8D7072}" dt="2025-11-18T17:38:56.552" v="18736" actId="20577"/>
        <pc:sldMkLst>
          <pc:docMk/>
          <pc:sldMk cId="579396610" sldId="3526"/>
        </pc:sldMkLst>
        <pc:spChg chg="mod">
          <ac:chgData name="Leiter, Tristan Kilian" userId="aff616bd-4ba4-4d5a-a6ae-24fbc901fafd" providerId="ADAL" clId="{D292643D-2054-4A69-9325-26675E8D7072}" dt="2025-11-15T18:12:43.271" v="7516" actId="20577"/>
          <ac:spMkLst>
            <pc:docMk/>
            <pc:sldMk cId="579396610" sldId="3526"/>
            <ac:spMk id="2" creationId="{D6FA26F9-14DA-2B02-A40C-318BDFE99E29}"/>
          </ac:spMkLst>
        </pc:spChg>
        <pc:spChg chg="mod">
          <ac:chgData name="Leiter, Tristan Kilian" userId="aff616bd-4ba4-4d5a-a6ae-24fbc901fafd" providerId="ADAL" clId="{D292643D-2054-4A69-9325-26675E8D7072}" dt="2025-11-15T18:07:31.036" v="7409" actId="20577"/>
          <ac:spMkLst>
            <pc:docMk/>
            <pc:sldMk cId="579396610" sldId="3526"/>
            <ac:spMk id="3" creationId="{720921EA-5A6D-9982-FE89-A2CBC71596BB}"/>
          </ac:spMkLst>
        </pc:spChg>
        <pc:spChg chg="ord">
          <ac:chgData name="Leiter, Tristan Kilian" userId="aff616bd-4ba4-4d5a-a6ae-24fbc901fafd" providerId="ADAL" clId="{D292643D-2054-4A69-9325-26675E8D7072}" dt="2025-11-15T17:57:26.765" v="5749" actId="167"/>
          <ac:spMkLst>
            <pc:docMk/>
            <pc:sldMk cId="579396610" sldId="3526"/>
            <ac:spMk id="4" creationId="{BC10F485-10DA-D53F-3C02-710CF6D0D2DF}"/>
          </ac:spMkLst>
        </pc:spChg>
        <pc:spChg chg="mod">
          <ac:chgData name="Leiter, Tristan Kilian" userId="aff616bd-4ba4-4d5a-a6ae-24fbc901fafd" providerId="ADAL" clId="{D292643D-2054-4A69-9325-26675E8D7072}" dt="2025-11-15T18:10:17.044" v="7428" actId="207"/>
          <ac:spMkLst>
            <pc:docMk/>
            <pc:sldMk cId="579396610" sldId="3526"/>
            <ac:spMk id="7" creationId="{10B33DB0-114B-BFF1-E85A-1BE271D12062}"/>
          </ac:spMkLst>
        </pc:spChg>
        <pc:spChg chg="add del mod">
          <ac:chgData name="Leiter, Tristan Kilian" userId="aff616bd-4ba4-4d5a-a6ae-24fbc901fafd" providerId="ADAL" clId="{D292643D-2054-4A69-9325-26675E8D7072}" dt="2025-11-18T17:38:56.552" v="18736" actId="20577"/>
          <ac:spMkLst>
            <pc:docMk/>
            <pc:sldMk cId="579396610" sldId="3526"/>
            <ac:spMk id="9" creationId="{A96BEB6E-0758-DFFB-98F4-A2F784A981F3}"/>
          </ac:spMkLst>
        </pc:spChg>
        <pc:spChg chg="add mod">
          <ac:chgData name="Leiter, Tristan Kilian" userId="aff616bd-4ba4-4d5a-a6ae-24fbc901fafd" providerId="ADAL" clId="{D292643D-2054-4A69-9325-26675E8D7072}" dt="2025-11-16T19:51:28.942" v="17775" actId="1036"/>
          <ac:spMkLst>
            <pc:docMk/>
            <pc:sldMk cId="579396610" sldId="3526"/>
            <ac:spMk id="10" creationId="{6856E9A3-75E8-BC8D-B2D0-054BE53C3CD4}"/>
          </ac:spMkLst>
        </pc:spChg>
        <pc:spChg chg="add mod">
          <ac:chgData name="Leiter, Tristan Kilian" userId="aff616bd-4ba4-4d5a-a6ae-24fbc901fafd" providerId="ADAL" clId="{D292643D-2054-4A69-9325-26675E8D7072}" dt="2025-11-15T17:50:51.789" v="5648" actId="1035"/>
          <ac:spMkLst>
            <pc:docMk/>
            <pc:sldMk cId="579396610" sldId="3526"/>
            <ac:spMk id="11" creationId="{94F82A48-12A9-00A5-C3B9-4FC57DEE8691}"/>
          </ac:spMkLst>
        </pc:spChg>
        <pc:spChg chg="add mod">
          <ac:chgData name="Leiter, Tristan Kilian" userId="aff616bd-4ba4-4d5a-a6ae-24fbc901fafd" providerId="ADAL" clId="{D292643D-2054-4A69-9325-26675E8D7072}" dt="2025-11-15T17:30:04.842" v="5065" actId="1035"/>
          <ac:spMkLst>
            <pc:docMk/>
            <pc:sldMk cId="579396610" sldId="3526"/>
            <ac:spMk id="13" creationId="{27E9D76D-8057-90C4-C0FF-3BDA785646C3}"/>
          </ac:spMkLst>
        </pc:spChg>
        <pc:spChg chg="mod">
          <ac:chgData name="Leiter, Tristan Kilian" userId="aff616bd-4ba4-4d5a-a6ae-24fbc901fafd" providerId="ADAL" clId="{D292643D-2054-4A69-9325-26675E8D7072}" dt="2025-11-15T17:29:26.096" v="4946" actId="14100"/>
          <ac:spMkLst>
            <pc:docMk/>
            <pc:sldMk cId="579396610" sldId="3526"/>
            <ac:spMk id="14" creationId="{3D409535-765D-D003-EDC3-F223EBC6A60D}"/>
          </ac:spMkLst>
        </pc:spChg>
        <pc:spChg chg="mod">
          <ac:chgData name="Leiter, Tristan Kilian" userId="aff616bd-4ba4-4d5a-a6ae-24fbc901fafd" providerId="ADAL" clId="{D292643D-2054-4A69-9325-26675E8D7072}" dt="2025-11-18T17:37:54.376" v="18710" actId="20577"/>
          <ac:spMkLst>
            <pc:docMk/>
            <pc:sldMk cId="579396610" sldId="3526"/>
            <ac:spMk id="15" creationId="{DEDAB736-E381-DAE8-33C1-B29DCC01CBE2}"/>
          </ac:spMkLst>
        </pc:spChg>
        <pc:spChg chg="mod">
          <ac:chgData name="Leiter, Tristan Kilian" userId="aff616bd-4ba4-4d5a-a6ae-24fbc901fafd" providerId="ADAL" clId="{D292643D-2054-4A69-9325-26675E8D7072}" dt="2025-11-15T17:29:44.354" v="5007" actId="1036"/>
          <ac:spMkLst>
            <pc:docMk/>
            <pc:sldMk cId="579396610" sldId="3526"/>
            <ac:spMk id="17" creationId="{8805F9D4-F21D-7F51-E182-F1A363708C62}"/>
          </ac:spMkLst>
        </pc:spChg>
        <pc:spChg chg="mod">
          <ac:chgData name="Leiter, Tristan Kilian" userId="aff616bd-4ba4-4d5a-a6ae-24fbc901fafd" providerId="ADAL" clId="{D292643D-2054-4A69-9325-26675E8D7072}" dt="2025-11-15T17:30:14.420" v="5109" actId="1035"/>
          <ac:spMkLst>
            <pc:docMk/>
            <pc:sldMk cId="579396610" sldId="3526"/>
            <ac:spMk id="18" creationId="{97F4D831-B9DD-913C-99F3-230269A85E82}"/>
          </ac:spMkLst>
        </pc:spChg>
        <pc:spChg chg="add mod">
          <ac:chgData name="Leiter, Tristan Kilian" userId="aff616bd-4ba4-4d5a-a6ae-24fbc901fafd" providerId="ADAL" clId="{D292643D-2054-4A69-9325-26675E8D7072}" dt="2025-11-15T17:50:55.211" v="5659" actId="1035"/>
          <ac:spMkLst>
            <pc:docMk/>
            <pc:sldMk cId="579396610" sldId="3526"/>
            <ac:spMk id="19" creationId="{A48D5CE3-CE84-D30A-2DA4-DC4216821F5A}"/>
          </ac:spMkLst>
        </pc:spChg>
        <pc:spChg chg="add mod">
          <ac:chgData name="Leiter, Tristan Kilian" userId="aff616bd-4ba4-4d5a-a6ae-24fbc901fafd" providerId="ADAL" clId="{D292643D-2054-4A69-9325-26675E8D7072}" dt="2025-11-15T17:50:46.173" v="5636" actId="1035"/>
          <ac:spMkLst>
            <pc:docMk/>
            <pc:sldMk cId="579396610" sldId="3526"/>
            <ac:spMk id="20" creationId="{A83DD475-20A3-C879-EDA0-F88D0529AF04}"/>
          </ac:spMkLst>
        </pc:spChg>
        <pc:spChg chg="add mod">
          <ac:chgData name="Leiter, Tristan Kilian" userId="aff616bd-4ba4-4d5a-a6ae-24fbc901fafd" providerId="ADAL" clId="{D292643D-2054-4A69-9325-26675E8D7072}" dt="2025-11-18T17:38:09.337" v="18713" actId="20577"/>
          <ac:spMkLst>
            <pc:docMk/>
            <pc:sldMk cId="579396610" sldId="3526"/>
            <ac:spMk id="21" creationId="{7111DB3B-E0A8-B2A9-36BC-5CB8B6C257D9}"/>
          </ac:spMkLst>
        </pc:spChg>
        <pc:spChg chg="add mod ord">
          <ac:chgData name="Leiter, Tristan Kilian" userId="aff616bd-4ba4-4d5a-a6ae-24fbc901fafd" providerId="ADAL" clId="{D292643D-2054-4A69-9325-26675E8D7072}" dt="2025-11-16T19:55:14.922" v="17785" actId="14100"/>
          <ac:spMkLst>
            <pc:docMk/>
            <pc:sldMk cId="579396610" sldId="3526"/>
            <ac:spMk id="23" creationId="{7C2E7ED1-8753-3F86-EA8D-FFB8B562C54B}"/>
          </ac:spMkLst>
        </pc:spChg>
        <pc:spChg chg="add mod">
          <ac:chgData name="Leiter, Tristan Kilian" userId="aff616bd-4ba4-4d5a-a6ae-24fbc901fafd" providerId="ADAL" clId="{D292643D-2054-4A69-9325-26675E8D7072}" dt="2025-11-15T17:50:51.789" v="5648" actId="1035"/>
          <ac:spMkLst>
            <pc:docMk/>
            <pc:sldMk cId="579396610" sldId="3526"/>
            <ac:spMk id="24" creationId="{F4F1647F-AE52-7AF4-13EE-E35B1B283CFA}"/>
          </ac:spMkLst>
        </pc:spChg>
        <pc:spChg chg="add mod">
          <ac:chgData name="Leiter, Tristan Kilian" userId="aff616bd-4ba4-4d5a-a6ae-24fbc901fafd" providerId="ADAL" clId="{D292643D-2054-4A69-9325-26675E8D7072}" dt="2025-11-18T17:38:16.529" v="18714" actId="20577"/>
          <ac:spMkLst>
            <pc:docMk/>
            <pc:sldMk cId="579396610" sldId="3526"/>
            <ac:spMk id="25" creationId="{2282D15A-1656-3E99-918D-B2D9171BF2E9}"/>
          </ac:spMkLst>
        </pc:spChg>
        <pc:spChg chg="add mod">
          <ac:chgData name="Leiter, Tristan Kilian" userId="aff616bd-4ba4-4d5a-a6ae-24fbc901fafd" providerId="ADAL" clId="{D292643D-2054-4A69-9325-26675E8D7072}" dt="2025-11-15T17:50:58.579" v="5661" actId="403"/>
          <ac:spMkLst>
            <pc:docMk/>
            <pc:sldMk cId="579396610" sldId="3526"/>
            <ac:spMk id="27" creationId="{54DD09C6-3072-CD5A-FC71-5DC7CB7B5F2C}"/>
          </ac:spMkLst>
        </pc:spChg>
        <pc:spChg chg="add mod">
          <ac:chgData name="Leiter, Tristan Kilian" userId="aff616bd-4ba4-4d5a-a6ae-24fbc901fafd" providerId="ADAL" clId="{D292643D-2054-4A69-9325-26675E8D7072}" dt="2025-11-15T18:02:51.094" v="6418" actId="1036"/>
          <ac:spMkLst>
            <pc:docMk/>
            <pc:sldMk cId="579396610" sldId="3526"/>
            <ac:spMk id="28" creationId="{3C409870-C621-7E2C-9D6B-91047A4EC669}"/>
          </ac:spMkLst>
        </pc:spChg>
        <pc:spChg chg="add mod ord">
          <ac:chgData name="Leiter, Tristan Kilian" userId="aff616bd-4ba4-4d5a-a6ae-24fbc901fafd" providerId="ADAL" clId="{D292643D-2054-4A69-9325-26675E8D7072}" dt="2025-11-16T19:55:12.235" v="17784" actId="14100"/>
          <ac:spMkLst>
            <pc:docMk/>
            <pc:sldMk cId="579396610" sldId="3526"/>
            <ac:spMk id="37" creationId="{C421172C-24C6-91FB-2E12-67B9994FA948}"/>
          </ac:spMkLst>
        </pc:spChg>
        <pc:spChg chg="mod">
          <ac:chgData name="Leiter, Tristan Kilian" userId="aff616bd-4ba4-4d5a-a6ae-24fbc901fafd" providerId="ADAL" clId="{D292643D-2054-4A69-9325-26675E8D7072}" dt="2025-11-15T17:59:13.104" v="5774"/>
          <ac:spMkLst>
            <pc:docMk/>
            <pc:sldMk cId="579396610" sldId="3526"/>
            <ac:spMk id="47" creationId="{5D84CB37-C942-0FEE-5BF3-6C503B3524D5}"/>
          </ac:spMkLst>
        </pc:spChg>
        <pc:spChg chg="add mod">
          <ac:chgData name="Leiter, Tristan Kilian" userId="aff616bd-4ba4-4d5a-a6ae-24fbc901fafd" providerId="ADAL" clId="{D292643D-2054-4A69-9325-26675E8D7072}" dt="2025-11-15T18:02:51.094" v="6418" actId="1036"/>
          <ac:spMkLst>
            <pc:docMk/>
            <pc:sldMk cId="579396610" sldId="3526"/>
            <ac:spMk id="48" creationId="{5693A53E-434B-8858-F1A8-B33F10896E2E}"/>
          </ac:spMkLst>
        </pc:spChg>
        <pc:grpChg chg="add mod">
          <ac:chgData name="Leiter, Tristan Kilian" userId="aff616bd-4ba4-4d5a-a6ae-24fbc901fafd" providerId="ADAL" clId="{D292643D-2054-4A69-9325-26675E8D7072}" dt="2025-11-16T13:24:32.743" v="8831" actId="1076"/>
          <ac:grpSpMkLst>
            <pc:docMk/>
            <pc:sldMk cId="579396610" sldId="3526"/>
            <ac:grpSpMk id="45" creationId="{36E7BD1F-6DD4-D872-2203-A6114DE89F03}"/>
          </ac:grpSpMkLst>
        </pc:grpChg>
        <pc:graphicFrameChg chg="mod modGraphic">
          <ac:chgData name="Leiter, Tristan Kilian" userId="aff616bd-4ba4-4d5a-a6ae-24fbc901fafd" providerId="ADAL" clId="{D292643D-2054-4A69-9325-26675E8D7072}" dt="2025-11-18T17:37:46.080" v="18707" actId="20577"/>
          <ac:graphicFrameMkLst>
            <pc:docMk/>
            <pc:sldMk cId="579396610" sldId="3526"/>
            <ac:graphicFrameMk id="12" creationId="{5EF32FA5-5DB8-D8F6-233E-AAE79B221B75}"/>
          </ac:graphicFrameMkLst>
        </pc:graphicFrameChg>
        <pc:picChg chg="mod">
          <ac:chgData name="Leiter, Tristan Kilian" userId="aff616bd-4ba4-4d5a-a6ae-24fbc901fafd" providerId="ADAL" clId="{D292643D-2054-4A69-9325-26675E8D7072}" dt="2025-11-15T17:59:13.104" v="5774"/>
          <ac:picMkLst>
            <pc:docMk/>
            <pc:sldMk cId="579396610" sldId="3526"/>
            <ac:picMk id="46" creationId="{4BDB7C34-A58C-A453-638F-5D4CA8A24D16}"/>
          </ac:picMkLst>
        </pc:picChg>
      </pc:sldChg>
      <pc:sldChg chg="addSp delSp modSp add mod">
        <pc:chgData name="Leiter, Tristan Kilian" userId="aff616bd-4ba4-4d5a-a6ae-24fbc901fafd" providerId="ADAL" clId="{D292643D-2054-4A69-9325-26675E8D7072}" dt="2025-11-15T12:26:21.561" v="3174" actId="1076"/>
        <pc:sldMkLst>
          <pc:docMk/>
          <pc:sldMk cId="247454712" sldId="3527"/>
        </pc:sldMkLst>
        <pc:spChg chg="mod">
          <ac:chgData name="Leiter, Tristan Kilian" userId="aff616bd-4ba4-4d5a-a6ae-24fbc901fafd" providerId="ADAL" clId="{D292643D-2054-4A69-9325-26675E8D7072}" dt="2025-11-15T12:26:04.724" v="3169" actId="20577"/>
          <ac:spMkLst>
            <pc:docMk/>
            <pc:sldMk cId="247454712" sldId="3527"/>
            <ac:spMk id="3" creationId="{DDCA4F18-018D-77E4-70A5-A86230460B90}"/>
          </ac:spMkLst>
        </pc:spChg>
        <pc:picChg chg="add mod">
          <ac:chgData name="Leiter, Tristan Kilian" userId="aff616bd-4ba4-4d5a-a6ae-24fbc901fafd" providerId="ADAL" clId="{D292643D-2054-4A69-9325-26675E8D7072}" dt="2025-11-15T12:26:21.561" v="3174" actId="1076"/>
          <ac:picMkLst>
            <pc:docMk/>
            <pc:sldMk cId="247454712" sldId="3527"/>
            <ac:picMk id="5" creationId="{F636A858-12FF-7126-517C-123B4342E57F}"/>
          </ac:picMkLst>
        </pc:picChg>
      </pc:sldChg>
      <pc:sldChg chg="add del ord">
        <pc:chgData name="Leiter, Tristan Kilian" userId="aff616bd-4ba4-4d5a-a6ae-24fbc901fafd" providerId="ADAL" clId="{D292643D-2054-4A69-9325-26675E8D7072}" dt="2025-11-15T12:25:08.895" v="3113" actId="47"/>
        <pc:sldMkLst>
          <pc:docMk/>
          <pc:sldMk cId="4291126935" sldId="3527"/>
        </pc:sldMkLst>
      </pc:sldChg>
      <pc:sldChg chg="addSp delSp modSp add mod modNotesTx">
        <pc:chgData name="Leiter, Tristan Kilian" userId="aff616bd-4ba4-4d5a-a6ae-24fbc901fafd" providerId="ADAL" clId="{D292643D-2054-4A69-9325-26675E8D7072}" dt="2025-11-15T18:03:09.668" v="6425" actId="478"/>
        <pc:sldMkLst>
          <pc:docMk/>
          <pc:sldMk cId="3155094780" sldId="3528"/>
        </pc:sldMkLst>
        <pc:spChg chg="mod">
          <ac:chgData name="Leiter, Tristan Kilian" userId="aff616bd-4ba4-4d5a-a6ae-24fbc901fafd" providerId="ADAL" clId="{D292643D-2054-4A69-9325-26675E8D7072}" dt="2025-11-15T17:47:53.529" v="5242" actId="20577"/>
          <ac:spMkLst>
            <pc:docMk/>
            <pc:sldMk cId="3155094780" sldId="3528"/>
            <ac:spMk id="3" creationId="{D9B0EF84-5C4A-368D-12B4-54E32F1E78A8}"/>
          </ac:spMkLst>
        </pc:spChg>
        <pc:picChg chg="add del mod">
          <ac:chgData name="Leiter, Tristan Kilian" userId="aff616bd-4ba4-4d5a-a6ae-24fbc901fafd" providerId="ADAL" clId="{D292643D-2054-4A69-9325-26675E8D7072}" dt="2025-11-15T18:03:09.668" v="6425" actId="478"/>
          <ac:picMkLst>
            <pc:docMk/>
            <pc:sldMk cId="3155094780" sldId="3528"/>
            <ac:picMk id="6" creationId="{5B816DA8-D749-22C9-0041-45F4B134576E}"/>
          </ac:picMkLst>
        </pc:picChg>
      </pc:sldChg>
      <pc:sldChg chg="addSp delSp modSp add del mod">
        <pc:chgData name="Leiter, Tristan Kilian" userId="aff616bd-4ba4-4d5a-a6ae-24fbc901fafd" providerId="ADAL" clId="{D292643D-2054-4A69-9325-26675E8D7072}" dt="2025-11-15T17:30:58.958" v="5221" actId="47"/>
        <pc:sldMkLst>
          <pc:docMk/>
          <pc:sldMk cId="3401497522" sldId="3528"/>
        </pc:sldMkLst>
      </pc:sldChg>
      <pc:sldChg chg="addSp delSp modSp add del mod">
        <pc:chgData name="Leiter, Tristan Kilian" userId="aff616bd-4ba4-4d5a-a6ae-24fbc901fafd" providerId="ADAL" clId="{D292643D-2054-4A69-9325-26675E8D7072}" dt="2025-11-15T18:07:37.687" v="7411" actId="47"/>
        <pc:sldMkLst>
          <pc:docMk/>
          <pc:sldMk cId="2403052421" sldId="3529"/>
        </pc:sldMkLst>
      </pc:sldChg>
      <pc:sldChg chg="addSp delSp modSp add mod">
        <pc:chgData name="Leiter, Tristan Kilian" userId="aff616bd-4ba4-4d5a-a6ae-24fbc901fafd" providerId="ADAL" clId="{D292643D-2054-4A69-9325-26675E8D7072}" dt="2025-11-15T18:07:04.020" v="7373" actId="1076"/>
        <pc:sldMkLst>
          <pc:docMk/>
          <pc:sldMk cId="913324038" sldId="3530"/>
        </pc:sldMkLst>
        <pc:spChg chg="add mod">
          <ac:chgData name="Leiter, Tristan Kilian" userId="aff616bd-4ba4-4d5a-a6ae-24fbc901fafd" providerId="ADAL" clId="{D292643D-2054-4A69-9325-26675E8D7072}" dt="2025-11-15T18:06:57.393" v="7372" actId="1038"/>
          <ac:spMkLst>
            <pc:docMk/>
            <pc:sldMk cId="913324038" sldId="3530"/>
            <ac:spMk id="2" creationId="{E6C380B7-C0C3-9A0A-F72C-28C158C7ECA3}"/>
          </ac:spMkLst>
        </pc:spChg>
        <pc:spChg chg="mod">
          <ac:chgData name="Leiter, Tristan Kilian" userId="aff616bd-4ba4-4d5a-a6ae-24fbc901fafd" providerId="ADAL" clId="{D292643D-2054-4A69-9325-26675E8D7072}" dt="2025-11-15T18:03:18.544" v="6450" actId="20577"/>
          <ac:spMkLst>
            <pc:docMk/>
            <pc:sldMk cId="913324038" sldId="3530"/>
            <ac:spMk id="3" creationId="{FD846C4A-6653-D9F0-4A67-587273D7D70B}"/>
          </ac:spMkLst>
        </pc:spChg>
        <pc:spChg chg="add mod">
          <ac:chgData name="Leiter, Tristan Kilian" userId="aff616bd-4ba4-4d5a-a6ae-24fbc901fafd" providerId="ADAL" clId="{D292643D-2054-4A69-9325-26675E8D7072}" dt="2025-11-15T18:06:57.393" v="7372" actId="1038"/>
          <ac:spMkLst>
            <pc:docMk/>
            <pc:sldMk cId="913324038" sldId="3530"/>
            <ac:spMk id="5" creationId="{60D3A0C1-B48E-1ECC-208C-22D149B2A110}"/>
          </ac:spMkLst>
        </pc:spChg>
        <pc:spChg chg="mod">
          <ac:chgData name="Leiter, Tristan Kilian" userId="aff616bd-4ba4-4d5a-a6ae-24fbc901fafd" providerId="ADAL" clId="{D292643D-2054-4A69-9325-26675E8D7072}" dt="2025-11-15T18:06:57.393" v="7372" actId="1038"/>
          <ac:spMkLst>
            <pc:docMk/>
            <pc:sldMk cId="913324038" sldId="3530"/>
            <ac:spMk id="7" creationId="{522743A1-3C34-5219-C453-464008585D56}"/>
          </ac:spMkLst>
        </pc:spChg>
        <pc:spChg chg="mod">
          <ac:chgData name="Leiter, Tristan Kilian" userId="aff616bd-4ba4-4d5a-a6ae-24fbc901fafd" providerId="ADAL" clId="{D292643D-2054-4A69-9325-26675E8D7072}" dt="2025-11-15T18:06:57.393" v="7372" actId="1038"/>
          <ac:spMkLst>
            <pc:docMk/>
            <pc:sldMk cId="913324038" sldId="3530"/>
            <ac:spMk id="8" creationId="{4606940A-E500-E9F6-2FD0-D86AD5AA3069}"/>
          </ac:spMkLst>
        </pc:spChg>
        <pc:spChg chg="add mod">
          <ac:chgData name="Leiter, Tristan Kilian" userId="aff616bd-4ba4-4d5a-a6ae-24fbc901fafd" providerId="ADAL" clId="{D292643D-2054-4A69-9325-26675E8D7072}" dt="2025-11-15T18:07:04.020" v="7373" actId="1076"/>
          <ac:spMkLst>
            <pc:docMk/>
            <pc:sldMk cId="913324038" sldId="3530"/>
            <ac:spMk id="9" creationId="{4157DADF-9A8A-AC28-290C-E9B59DF955AA}"/>
          </ac:spMkLst>
        </pc:spChg>
        <pc:spChg chg="add mod">
          <ac:chgData name="Leiter, Tristan Kilian" userId="aff616bd-4ba4-4d5a-a6ae-24fbc901fafd" providerId="ADAL" clId="{D292643D-2054-4A69-9325-26675E8D7072}" dt="2025-11-15T18:07:04.020" v="7373" actId="1076"/>
          <ac:spMkLst>
            <pc:docMk/>
            <pc:sldMk cId="913324038" sldId="3530"/>
            <ac:spMk id="10" creationId="{340B55E9-4323-F197-793B-2A318C77EA7D}"/>
          </ac:spMkLst>
        </pc:spChg>
        <pc:spChg chg="add mod">
          <ac:chgData name="Leiter, Tristan Kilian" userId="aff616bd-4ba4-4d5a-a6ae-24fbc901fafd" providerId="ADAL" clId="{D292643D-2054-4A69-9325-26675E8D7072}" dt="2025-11-15T18:07:04.020" v="7373" actId="1076"/>
          <ac:spMkLst>
            <pc:docMk/>
            <pc:sldMk cId="913324038" sldId="3530"/>
            <ac:spMk id="11" creationId="{CFA8FB50-5190-5C0C-4837-DCA92600B1AA}"/>
          </ac:spMkLst>
        </pc:spChg>
        <pc:spChg chg="add mod">
          <ac:chgData name="Leiter, Tristan Kilian" userId="aff616bd-4ba4-4d5a-a6ae-24fbc901fafd" providerId="ADAL" clId="{D292643D-2054-4A69-9325-26675E8D7072}" dt="2025-11-15T18:07:04.020" v="7373" actId="1076"/>
          <ac:spMkLst>
            <pc:docMk/>
            <pc:sldMk cId="913324038" sldId="3530"/>
            <ac:spMk id="12" creationId="{5D01AD6C-DF0A-2B57-4DAC-57130A953CF0}"/>
          </ac:spMkLst>
        </pc:spChg>
      </pc:sldChg>
      <pc:sldChg chg="modSp add del mod">
        <pc:chgData name="Leiter, Tristan Kilian" userId="aff616bd-4ba4-4d5a-a6ae-24fbc901fafd" providerId="ADAL" clId="{D292643D-2054-4A69-9325-26675E8D7072}" dt="2025-11-15T18:11:12.911" v="7437" actId="47"/>
        <pc:sldMkLst>
          <pc:docMk/>
          <pc:sldMk cId="1684416078" sldId="3531"/>
        </pc:sldMkLst>
      </pc:sldChg>
      <pc:sldChg chg="addSp modSp add mod">
        <pc:chgData name="Leiter, Tristan Kilian" userId="aff616bd-4ba4-4d5a-a6ae-24fbc901fafd" providerId="ADAL" clId="{D292643D-2054-4A69-9325-26675E8D7072}" dt="2025-11-18T17:38:53" v="18735" actId="20577"/>
        <pc:sldMkLst>
          <pc:docMk/>
          <pc:sldMk cId="1616967267" sldId="3532"/>
        </pc:sldMkLst>
        <pc:spChg chg="mod">
          <ac:chgData name="Leiter, Tristan Kilian" userId="aff616bd-4ba4-4d5a-a6ae-24fbc901fafd" providerId="ADAL" clId="{D292643D-2054-4A69-9325-26675E8D7072}" dt="2025-11-15T18:15:47.508" v="7745" actId="20577"/>
          <ac:spMkLst>
            <pc:docMk/>
            <pc:sldMk cId="1616967267" sldId="3532"/>
            <ac:spMk id="2" creationId="{F38E01AE-4E06-19E6-994F-97AB285A32D1}"/>
          </ac:spMkLst>
        </pc:spChg>
        <pc:spChg chg="mod">
          <ac:chgData name="Leiter, Tristan Kilian" userId="aff616bd-4ba4-4d5a-a6ae-24fbc901fafd" providerId="ADAL" clId="{D292643D-2054-4A69-9325-26675E8D7072}" dt="2025-11-15T18:13:05.007" v="7542" actId="20577"/>
          <ac:spMkLst>
            <pc:docMk/>
            <pc:sldMk cId="1616967267" sldId="3532"/>
            <ac:spMk id="3" creationId="{7EB0C778-9F3E-6F7C-25BC-EC99DF9202C7}"/>
          </ac:spMkLst>
        </pc:spChg>
        <pc:spChg chg="mod">
          <ac:chgData name="Leiter, Tristan Kilian" userId="aff616bd-4ba4-4d5a-a6ae-24fbc901fafd" providerId="ADAL" clId="{D292643D-2054-4A69-9325-26675E8D7072}" dt="2025-11-15T18:10:21.679" v="7429" actId="207"/>
          <ac:spMkLst>
            <pc:docMk/>
            <pc:sldMk cId="1616967267" sldId="3532"/>
            <ac:spMk id="5" creationId="{875DC9CF-76AE-AF73-24E9-47D69995F933}"/>
          </ac:spMkLst>
        </pc:spChg>
        <pc:spChg chg="mod">
          <ac:chgData name="Leiter, Tristan Kilian" userId="aff616bd-4ba4-4d5a-a6ae-24fbc901fafd" providerId="ADAL" clId="{D292643D-2054-4A69-9325-26675E8D7072}" dt="2025-11-18T17:38:53" v="18735" actId="20577"/>
          <ac:spMkLst>
            <pc:docMk/>
            <pc:sldMk cId="1616967267" sldId="3532"/>
            <ac:spMk id="9" creationId="{049C9AE1-E14C-8F71-73B7-1CD9BCB57A92}"/>
          </ac:spMkLst>
        </pc:spChg>
        <pc:spChg chg="add mod">
          <ac:chgData name="Leiter, Tristan Kilian" userId="aff616bd-4ba4-4d5a-a6ae-24fbc901fafd" providerId="ADAL" clId="{D292643D-2054-4A69-9325-26675E8D7072}" dt="2025-11-16T19:54:33.585" v="17776"/>
          <ac:spMkLst>
            <pc:docMk/>
            <pc:sldMk cId="1616967267" sldId="3532"/>
            <ac:spMk id="10" creationId="{1DFC04A7-A8F9-E5AA-1007-8AAAA2408DF1}"/>
          </ac:spMkLst>
        </pc:spChg>
        <pc:spChg chg="mod">
          <ac:chgData name="Leiter, Tristan Kilian" userId="aff616bd-4ba4-4d5a-a6ae-24fbc901fafd" providerId="ADAL" clId="{D292643D-2054-4A69-9325-26675E8D7072}" dt="2025-11-18T17:38:35.231" v="18731" actId="20577"/>
          <ac:spMkLst>
            <pc:docMk/>
            <pc:sldMk cId="1616967267" sldId="3532"/>
            <ac:spMk id="15" creationId="{33583021-056F-FEA8-DA83-0E6AE9490D3C}"/>
          </ac:spMkLst>
        </pc:spChg>
        <pc:spChg chg="mod">
          <ac:chgData name="Leiter, Tristan Kilian" userId="aff616bd-4ba4-4d5a-a6ae-24fbc901fafd" providerId="ADAL" clId="{D292643D-2054-4A69-9325-26675E8D7072}" dt="2025-11-18T17:38:39.423" v="18734" actId="20577"/>
          <ac:spMkLst>
            <pc:docMk/>
            <pc:sldMk cId="1616967267" sldId="3532"/>
            <ac:spMk id="21" creationId="{F77603DD-6168-BFB2-CA8E-29F19A636D23}"/>
          </ac:spMkLst>
        </pc:spChg>
        <pc:spChg chg="mod">
          <ac:chgData name="Leiter, Tristan Kilian" userId="aff616bd-4ba4-4d5a-a6ae-24fbc901fafd" providerId="ADAL" clId="{D292643D-2054-4A69-9325-26675E8D7072}" dt="2025-11-16T19:55:05.625" v="17783" actId="14100"/>
          <ac:spMkLst>
            <pc:docMk/>
            <pc:sldMk cId="1616967267" sldId="3532"/>
            <ac:spMk id="23" creationId="{047D1261-C606-1DBC-2F68-55B4B12969AA}"/>
          </ac:spMkLst>
        </pc:spChg>
        <pc:spChg chg="mod">
          <ac:chgData name="Leiter, Tristan Kilian" userId="aff616bd-4ba4-4d5a-a6ae-24fbc901fafd" providerId="ADAL" clId="{D292643D-2054-4A69-9325-26675E8D7072}" dt="2025-11-18T17:38:22.984" v="18715" actId="20577"/>
          <ac:spMkLst>
            <pc:docMk/>
            <pc:sldMk cId="1616967267" sldId="3532"/>
            <ac:spMk id="25" creationId="{E3E38B69-33E5-B04F-3E1D-7EB55E5FE6FB}"/>
          </ac:spMkLst>
        </pc:spChg>
        <pc:spChg chg="mod">
          <ac:chgData name="Leiter, Tristan Kilian" userId="aff616bd-4ba4-4d5a-a6ae-24fbc901fafd" providerId="ADAL" clId="{D292643D-2054-4A69-9325-26675E8D7072}" dt="2025-11-16T19:55:02.440" v="17782" actId="14100"/>
          <ac:spMkLst>
            <pc:docMk/>
            <pc:sldMk cId="1616967267" sldId="3532"/>
            <ac:spMk id="37" creationId="{1B5F7A1E-B273-775C-A3C9-94D1AEBC241F}"/>
          </ac:spMkLst>
        </pc:spChg>
        <pc:grpChg chg="mod">
          <ac:chgData name="Leiter, Tristan Kilian" userId="aff616bd-4ba4-4d5a-a6ae-24fbc901fafd" providerId="ADAL" clId="{D292643D-2054-4A69-9325-26675E8D7072}" dt="2025-11-16T13:24:24.574" v="8829" actId="1076"/>
          <ac:grpSpMkLst>
            <pc:docMk/>
            <pc:sldMk cId="1616967267" sldId="3532"/>
            <ac:grpSpMk id="45" creationId="{46C7D94B-8772-9B6E-1D0A-6341018C67DA}"/>
          </ac:grpSpMkLst>
        </pc:grpChg>
        <pc:graphicFrameChg chg="modGraphic">
          <ac:chgData name="Leiter, Tristan Kilian" userId="aff616bd-4ba4-4d5a-a6ae-24fbc901fafd" providerId="ADAL" clId="{D292643D-2054-4A69-9325-26675E8D7072}" dt="2025-11-18T17:38:32.623" v="18729" actId="20577"/>
          <ac:graphicFrameMkLst>
            <pc:docMk/>
            <pc:sldMk cId="1616967267" sldId="3532"/>
            <ac:graphicFrameMk id="12" creationId="{A431A221-DA86-2B43-EB85-15A4813B4E46}"/>
          </ac:graphicFrameMkLst>
        </pc:graphicFrameChg>
      </pc:sldChg>
      <pc:sldChg chg="addSp delSp modSp add del mod">
        <pc:chgData name="Leiter, Tristan Kilian" userId="aff616bd-4ba4-4d5a-a6ae-24fbc901fafd" providerId="ADAL" clId="{D292643D-2054-4A69-9325-26675E8D7072}" dt="2025-11-15T18:12:29.052" v="7459" actId="47"/>
        <pc:sldMkLst>
          <pc:docMk/>
          <pc:sldMk cId="1013421283" sldId="3533"/>
        </pc:sldMkLst>
      </pc:sldChg>
      <pc:sldChg chg="addSp delSp modSp add mod ord">
        <pc:chgData name="Leiter, Tristan Kilian" userId="aff616bd-4ba4-4d5a-a6ae-24fbc901fafd" providerId="ADAL" clId="{D292643D-2054-4A69-9325-26675E8D7072}" dt="2025-11-18T17:39:19.568" v="18757" actId="20577"/>
        <pc:sldMkLst>
          <pc:docMk/>
          <pc:sldMk cId="436156835" sldId="3534"/>
        </pc:sldMkLst>
        <pc:spChg chg="mod">
          <ac:chgData name="Leiter, Tristan Kilian" userId="aff616bd-4ba4-4d5a-a6ae-24fbc901fafd" providerId="ADAL" clId="{D292643D-2054-4A69-9325-26675E8D7072}" dt="2025-11-15T18:16:05.007" v="7821" actId="20577"/>
          <ac:spMkLst>
            <pc:docMk/>
            <pc:sldMk cId="436156835" sldId="3534"/>
            <ac:spMk id="2" creationId="{566B460A-0CDE-70D4-A795-E560A1A9FBF8}"/>
          </ac:spMkLst>
        </pc:spChg>
        <pc:spChg chg="mod">
          <ac:chgData name="Leiter, Tristan Kilian" userId="aff616bd-4ba4-4d5a-a6ae-24fbc901fafd" providerId="ADAL" clId="{D292643D-2054-4A69-9325-26675E8D7072}" dt="2025-11-15T18:13:44.537" v="7669" actId="20577"/>
          <ac:spMkLst>
            <pc:docMk/>
            <pc:sldMk cId="436156835" sldId="3534"/>
            <ac:spMk id="3" creationId="{DDF192E5-9618-2BA4-5BAD-200229E660C5}"/>
          </ac:spMkLst>
        </pc:spChg>
        <pc:spChg chg="mod">
          <ac:chgData name="Leiter, Tristan Kilian" userId="aff616bd-4ba4-4d5a-a6ae-24fbc901fafd" providerId="ADAL" clId="{D292643D-2054-4A69-9325-26675E8D7072}" dt="2025-11-18T17:39:00.465" v="18737" actId="20577"/>
          <ac:spMkLst>
            <pc:docMk/>
            <pc:sldMk cId="436156835" sldId="3534"/>
            <ac:spMk id="9" creationId="{3DAD7238-F8E2-E937-38EA-2291DBECDED4}"/>
          </ac:spMkLst>
        </pc:spChg>
        <pc:spChg chg="mod">
          <ac:chgData name="Leiter, Tristan Kilian" userId="aff616bd-4ba4-4d5a-a6ae-24fbc901fafd" providerId="ADAL" clId="{D292643D-2054-4A69-9325-26675E8D7072}" dt="2025-11-18T17:39:06.079" v="18740" actId="20577"/>
          <ac:spMkLst>
            <pc:docMk/>
            <pc:sldMk cId="436156835" sldId="3534"/>
            <ac:spMk id="15" creationId="{C07CD02B-065A-CB4F-224D-626765576D34}"/>
          </ac:spMkLst>
        </pc:spChg>
        <pc:spChg chg="mod">
          <ac:chgData name="Leiter, Tristan Kilian" userId="aff616bd-4ba4-4d5a-a6ae-24fbc901fafd" providerId="ADAL" clId="{D292643D-2054-4A69-9325-26675E8D7072}" dt="2025-11-18T17:39:12.095" v="18743" actId="20577"/>
          <ac:spMkLst>
            <pc:docMk/>
            <pc:sldMk cId="436156835" sldId="3534"/>
            <ac:spMk id="21" creationId="{B18E2892-7821-2AFB-8309-C79E230C740F}"/>
          </ac:spMkLst>
        </pc:spChg>
        <pc:spChg chg="mod">
          <ac:chgData name="Leiter, Tristan Kilian" userId="aff616bd-4ba4-4d5a-a6ae-24fbc901fafd" providerId="ADAL" clId="{D292643D-2054-4A69-9325-26675E8D7072}" dt="2025-11-15T18:12:07.331" v="7454"/>
          <ac:spMkLst>
            <pc:docMk/>
            <pc:sldMk cId="436156835" sldId="3534"/>
            <ac:spMk id="22" creationId="{6CE5334F-2910-D0A6-87D7-CA72438EE8D4}"/>
          </ac:spMkLst>
        </pc:spChg>
        <pc:spChg chg="mod">
          <ac:chgData name="Leiter, Tristan Kilian" userId="aff616bd-4ba4-4d5a-a6ae-24fbc901fafd" providerId="ADAL" clId="{D292643D-2054-4A69-9325-26675E8D7072}" dt="2025-11-16T19:54:53.559" v="17781" actId="14100"/>
          <ac:spMkLst>
            <pc:docMk/>
            <pc:sldMk cId="436156835" sldId="3534"/>
            <ac:spMk id="23" creationId="{79EA6E7B-92C5-551C-DF6C-DBAE1899CC52}"/>
          </ac:spMkLst>
        </pc:spChg>
        <pc:spChg chg="mod">
          <ac:chgData name="Leiter, Tristan Kilian" userId="aff616bd-4ba4-4d5a-a6ae-24fbc901fafd" providerId="ADAL" clId="{D292643D-2054-4A69-9325-26675E8D7072}" dt="2025-11-18T17:39:03.502" v="18738" actId="20577"/>
          <ac:spMkLst>
            <pc:docMk/>
            <pc:sldMk cId="436156835" sldId="3534"/>
            <ac:spMk id="25" creationId="{6E8CDD80-7228-E8D2-62CC-E0A7E2D0DFDA}"/>
          </ac:spMkLst>
        </pc:spChg>
        <pc:spChg chg="add mod">
          <ac:chgData name="Leiter, Tristan Kilian" userId="aff616bd-4ba4-4d5a-a6ae-24fbc901fafd" providerId="ADAL" clId="{D292643D-2054-4A69-9325-26675E8D7072}" dt="2025-11-16T19:54:35.198" v="17777"/>
          <ac:spMkLst>
            <pc:docMk/>
            <pc:sldMk cId="436156835" sldId="3534"/>
            <ac:spMk id="26" creationId="{C4746B8B-5A58-0FCC-C657-A8080F3D2833}"/>
          </ac:spMkLst>
        </pc:spChg>
        <pc:spChg chg="mod">
          <ac:chgData name="Leiter, Tristan Kilian" userId="aff616bd-4ba4-4d5a-a6ae-24fbc901fafd" providerId="ADAL" clId="{D292643D-2054-4A69-9325-26675E8D7072}" dt="2025-11-16T19:54:51.020" v="17780" actId="14100"/>
          <ac:spMkLst>
            <pc:docMk/>
            <pc:sldMk cId="436156835" sldId="3534"/>
            <ac:spMk id="37" creationId="{8E1ADB81-E3D2-302A-2B3D-F6B112B77D44}"/>
          </ac:spMkLst>
        </pc:spChg>
        <pc:grpChg chg="add mod">
          <ac:chgData name="Leiter, Tristan Kilian" userId="aff616bd-4ba4-4d5a-a6ae-24fbc901fafd" providerId="ADAL" clId="{D292643D-2054-4A69-9325-26675E8D7072}" dt="2025-11-15T18:12:17.326" v="7456" actId="1076"/>
          <ac:grpSpMkLst>
            <pc:docMk/>
            <pc:sldMk cId="436156835" sldId="3534"/>
            <ac:grpSpMk id="10" creationId="{01596D5C-05BC-FA3E-9E25-99BE96D7F8FC}"/>
          </ac:grpSpMkLst>
        </pc:grpChg>
        <pc:graphicFrameChg chg="modGraphic">
          <ac:chgData name="Leiter, Tristan Kilian" userId="aff616bd-4ba4-4d5a-a6ae-24fbc901fafd" providerId="ADAL" clId="{D292643D-2054-4A69-9325-26675E8D7072}" dt="2025-11-18T17:39:19.568" v="18757" actId="20577"/>
          <ac:graphicFrameMkLst>
            <pc:docMk/>
            <pc:sldMk cId="436156835" sldId="3534"/>
            <ac:graphicFrameMk id="12" creationId="{2A6E89C3-E0C3-A32F-132D-CC702D805909}"/>
          </ac:graphicFrameMkLst>
        </pc:graphicFrameChg>
        <pc:picChg chg="mod">
          <ac:chgData name="Leiter, Tristan Kilian" userId="aff616bd-4ba4-4d5a-a6ae-24fbc901fafd" providerId="ADAL" clId="{D292643D-2054-4A69-9325-26675E8D7072}" dt="2025-11-15T18:12:07.331" v="7454"/>
          <ac:picMkLst>
            <pc:docMk/>
            <pc:sldMk cId="436156835" sldId="3534"/>
            <ac:picMk id="16" creationId="{343B9CEC-C6BB-94E6-0C87-15E9BAA21CB4}"/>
          </ac:picMkLst>
        </pc:picChg>
      </pc:sldChg>
      <pc:sldChg chg="addSp modSp add del mod">
        <pc:chgData name="Leiter, Tristan Kilian" userId="aff616bd-4ba4-4d5a-a6ae-24fbc901fafd" providerId="ADAL" clId="{D292643D-2054-4A69-9325-26675E8D7072}" dt="2025-11-16T18:46:20.671" v="13068" actId="47"/>
        <pc:sldMkLst>
          <pc:docMk/>
          <pc:sldMk cId="2226659877" sldId="3535"/>
        </pc:sldMkLst>
      </pc:sldChg>
      <pc:sldChg chg="modSp add del mod">
        <pc:chgData name="Leiter, Tristan Kilian" userId="aff616bd-4ba4-4d5a-a6ae-24fbc901fafd" providerId="ADAL" clId="{D292643D-2054-4A69-9325-26675E8D7072}" dt="2025-11-16T18:46:24.545" v="13069" actId="47"/>
        <pc:sldMkLst>
          <pc:docMk/>
          <pc:sldMk cId="2118617076" sldId="3536"/>
        </pc:sldMkLst>
      </pc:sldChg>
      <pc:sldChg chg="addSp delSp modSp add mod">
        <pc:chgData name="Leiter, Tristan Kilian" userId="aff616bd-4ba4-4d5a-a6ae-24fbc901fafd" providerId="ADAL" clId="{D292643D-2054-4A69-9325-26675E8D7072}" dt="2025-11-18T17:41:47.765" v="18783" actId="20577"/>
        <pc:sldMkLst>
          <pc:docMk/>
          <pc:sldMk cId="4024229042" sldId="3537"/>
        </pc:sldMkLst>
        <pc:spChg chg="add mod">
          <ac:chgData name="Leiter, Tristan Kilian" userId="aff616bd-4ba4-4d5a-a6ae-24fbc901fafd" providerId="ADAL" clId="{D292643D-2054-4A69-9325-26675E8D7072}" dt="2025-11-18T17:41:47.765" v="18783" actId="20577"/>
          <ac:spMkLst>
            <pc:docMk/>
            <pc:sldMk cId="4024229042" sldId="3537"/>
            <ac:spMk id="2" creationId="{7F7F7B7D-2C1E-DF5D-0B58-0495DE195DFC}"/>
          </ac:spMkLst>
        </pc:spChg>
        <pc:spChg chg="mod">
          <ac:chgData name="Leiter, Tristan Kilian" userId="aff616bd-4ba4-4d5a-a6ae-24fbc901fafd" providerId="ADAL" clId="{D292643D-2054-4A69-9325-26675E8D7072}" dt="2025-11-15T18:18:34.101" v="8188" actId="20577"/>
          <ac:spMkLst>
            <pc:docMk/>
            <pc:sldMk cId="4024229042" sldId="3537"/>
            <ac:spMk id="3" creationId="{FE5DE670-4F2A-6E18-4526-AB2F47A93F2F}"/>
          </ac:spMkLst>
        </pc:spChg>
        <pc:spChg chg="ord">
          <ac:chgData name="Leiter, Tristan Kilian" userId="aff616bd-4ba4-4d5a-a6ae-24fbc901fafd" providerId="ADAL" clId="{D292643D-2054-4A69-9325-26675E8D7072}" dt="2025-11-16T19:41:59.249" v="16876" actId="167"/>
          <ac:spMkLst>
            <pc:docMk/>
            <pc:sldMk cId="4024229042" sldId="3537"/>
            <ac:spMk id="4" creationId="{2F730ED7-53F3-D231-A9FD-F35B80242A00}"/>
          </ac:spMkLst>
        </pc:spChg>
        <pc:spChg chg="add mod ord">
          <ac:chgData name="Leiter, Tristan Kilian" userId="aff616bd-4ba4-4d5a-a6ae-24fbc901fafd" providerId="ADAL" clId="{D292643D-2054-4A69-9325-26675E8D7072}" dt="2025-11-16T19:41:57.667" v="16875" actId="167"/>
          <ac:spMkLst>
            <pc:docMk/>
            <pc:sldMk cId="4024229042" sldId="3537"/>
            <ac:spMk id="5" creationId="{8B04C2F3-651E-A37F-D6D5-DBE10D174364}"/>
          </ac:spMkLst>
        </pc:spChg>
        <pc:picChg chg="add mod">
          <ac:chgData name="Leiter, Tristan Kilian" userId="aff616bd-4ba4-4d5a-a6ae-24fbc901fafd" providerId="ADAL" clId="{D292643D-2054-4A69-9325-26675E8D7072}" dt="2025-11-16T19:42:26.139" v="16898" actId="1076"/>
          <ac:picMkLst>
            <pc:docMk/>
            <pc:sldMk cId="4024229042" sldId="3537"/>
            <ac:picMk id="7" creationId="{90C7EBA9-2508-D153-AF3C-C32383237509}"/>
          </ac:picMkLst>
        </pc:picChg>
      </pc:sldChg>
      <pc:sldChg chg="addSp modSp add del mod">
        <pc:chgData name="Leiter, Tristan Kilian" userId="aff616bd-4ba4-4d5a-a6ae-24fbc901fafd" providerId="ADAL" clId="{D292643D-2054-4A69-9325-26675E8D7072}" dt="2025-11-16T19:45:42.016" v="17353" actId="47"/>
        <pc:sldMkLst>
          <pc:docMk/>
          <pc:sldMk cId="1206936550" sldId="3538"/>
        </pc:sldMkLst>
      </pc:sldChg>
      <pc:sldChg chg="addSp modSp add del mod">
        <pc:chgData name="Leiter, Tristan Kilian" userId="aff616bd-4ba4-4d5a-a6ae-24fbc901fafd" providerId="ADAL" clId="{D292643D-2054-4A69-9325-26675E8D7072}" dt="2025-11-16T19:45:42.999" v="17354" actId="47"/>
        <pc:sldMkLst>
          <pc:docMk/>
          <pc:sldMk cId="2564425353" sldId="3539"/>
        </pc:sldMkLst>
      </pc:sldChg>
      <pc:sldChg chg="modSp add del mod ord">
        <pc:chgData name="Leiter, Tristan Kilian" userId="aff616bd-4ba4-4d5a-a6ae-24fbc901fafd" providerId="ADAL" clId="{D292643D-2054-4A69-9325-26675E8D7072}" dt="2025-11-16T18:28:20.821" v="11834" actId="47"/>
        <pc:sldMkLst>
          <pc:docMk/>
          <pc:sldMk cId="3377723353" sldId="3540"/>
        </pc:sldMkLst>
      </pc:sldChg>
      <pc:sldChg chg="modSp add mod">
        <pc:chgData name="Leiter, Tristan Kilian" userId="aff616bd-4ba4-4d5a-a6ae-24fbc901fafd" providerId="ADAL" clId="{D292643D-2054-4A69-9325-26675E8D7072}" dt="2025-11-16T19:56:44.680" v="17803"/>
        <pc:sldMkLst>
          <pc:docMk/>
          <pc:sldMk cId="3889302077" sldId="3541"/>
        </pc:sldMkLst>
        <pc:spChg chg="mod">
          <ac:chgData name="Leiter, Tristan Kilian" userId="aff616bd-4ba4-4d5a-a6ae-24fbc901fafd" providerId="ADAL" clId="{D292643D-2054-4A69-9325-26675E8D7072}" dt="2025-11-16T19:56:44.680" v="17803"/>
          <ac:spMkLst>
            <pc:docMk/>
            <pc:sldMk cId="3889302077" sldId="3541"/>
            <ac:spMk id="2" creationId="{00A901C0-5A7B-B21A-0A44-2FFE80CB63E0}"/>
          </ac:spMkLst>
        </pc:spChg>
        <pc:spChg chg="mod">
          <ac:chgData name="Leiter, Tristan Kilian" userId="aff616bd-4ba4-4d5a-a6ae-24fbc901fafd" providerId="ADAL" clId="{D292643D-2054-4A69-9325-26675E8D7072}" dt="2025-11-16T19:56:18.418" v="17802" actId="404"/>
          <ac:spMkLst>
            <pc:docMk/>
            <pc:sldMk cId="3889302077" sldId="3541"/>
            <ac:spMk id="12" creationId="{1F8EBDE0-A9A8-DB6E-02D2-1A41AF43EB61}"/>
          </ac:spMkLst>
        </pc:spChg>
        <pc:spChg chg="mod">
          <ac:chgData name="Leiter, Tristan Kilian" userId="aff616bd-4ba4-4d5a-a6ae-24fbc901fafd" providerId="ADAL" clId="{D292643D-2054-4A69-9325-26675E8D7072}" dt="2025-11-16T18:28:39.042" v="11896" actId="1038"/>
          <ac:spMkLst>
            <pc:docMk/>
            <pc:sldMk cId="3889302077" sldId="3541"/>
            <ac:spMk id="15" creationId="{0F7AFD53-2CFC-3486-09D7-81298F039FE9}"/>
          </ac:spMkLst>
        </pc:spChg>
        <pc:spChg chg="mod">
          <ac:chgData name="Leiter, Tristan Kilian" userId="aff616bd-4ba4-4d5a-a6ae-24fbc901fafd" providerId="ADAL" clId="{D292643D-2054-4A69-9325-26675E8D7072}" dt="2025-11-16T18:28:27.780" v="11884" actId="1035"/>
          <ac:spMkLst>
            <pc:docMk/>
            <pc:sldMk cId="3889302077" sldId="3541"/>
            <ac:spMk id="37" creationId="{C0BAE2A4-0428-F98B-FEEE-55978D77F03C}"/>
          </ac:spMkLst>
        </pc:spChg>
        <pc:cxnChg chg="mod">
          <ac:chgData name="Leiter, Tristan Kilian" userId="aff616bd-4ba4-4d5a-a6ae-24fbc901fafd" providerId="ADAL" clId="{D292643D-2054-4A69-9325-26675E8D7072}" dt="2025-11-16T18:28:59.454" v="12056" actId="14100"/>
          <ac:cxnSpMkLst>
            <pc:docMk/>
            <pc:sldMk cId="3889302077" sldId="3541"/>
            <ac:cxnSpMk id="14" creationId="{292F0850-27A0-C776-453C-4B69287D2C01}"/>
          </ac:cxnSpMkLst>
        </pc:cxnChg>
      </pc:sldChg>
      <pc:sldChg chg="addSp delSp modSp add mod ord">
        <pc:chgData name="Leiter, Tristan Kilian" userId="aff616bd-4ba4-4d5a-a6ae-24fbc901fafd" providerId="ADAL" clId="{D292643D-2054-4A69-9325-26675E8D7072}" dt="2025-11-16T19:56:12.015" v="17801" actId="404"/>
        <pc:sldMkLst>
          <pc:docMk/>
          <pc:sldMk cId="2303119832" sldId="3542"/>
        </pc:sldMkLst>
        <pc:spChg chg="mod">
          <ac:chgData name="Leiter, Tristan Kilian" userId="aff616bd-4ba4-4d5a-a6ae-24fbc901fafd" providerId="ADAL" clId="{D292643D-2054-4A69-9325-26675E8D7072}" dt="2025-11-16T19:55:35.966" v="17800" actId="20577"/>
          <ac:spMkLst>
            <pc:docMk/>
            <pc:sldMk cId="2303119832" sldId="3542"/>
            <ac:spMk id="2" creationId="{7369BD79-7B3A-A9F8-7486-28A28D1BC582}"/>
          </ac:spMkLst>
        </pc:spChg>
        <pc:spChg chg="mod">
          <ac:chgData name="Leiter, Tristan Kilian" userId="aff616bd-4ba4-4d5a-a6ae-24fbc901fafd" providerId="ADAL" clId="{D292643D-2054-4A69-9325-26675E8D7072}" dt="2025-11-16T19:56:12.015" v="17801" actId="404"/>
          <ac:spMkLst>
            <pc:docMk/>
            <pc:sldMk cId="2303119832" sldId="3542"/>
            <ac:spMk id="12" creationId="{167DBAB5-A542-4038-B91A-3D0C40A3F911}"/>
          </ac:spMkLst>
        </pc:spChg>
        <pc:spChg chg="add mod">
          <ac:chgData name="Leiter, Tristan Kilian" userId="aff616bd-4ba4-4d5a-a6ae-24fbc901fafd" providerId="ADAL" clId="{D292643D-2054-4A69-9325-26675E8D7072}" dt="2025-11-16T18:29:15.187" v="12059"/>
          <ac:spMkLst>
            <pc:docMk/>
            <pc:sldMk cId="2303119832" sldId="3542"/>
            <ac:spMk id="18" creationId="{C16BC110-2E5C-C909-1E80-FB2148377D35}"/>
          </ac:spMkLst>
        </pc:spChg>
      </pc:sldChg>
      <pc:sldChg chg="addSp delSp modSp add mod">
        <pc:chgData name="Leiter, Tristan Kilian" userId="aff616bd-4ba4-4d5a-a6ae-24fbc901fafd" providerId="ADAL" clId="{D292643D-2054-4A69-9325-26675E8D7072}" dt="2025-11-18T17:37:31.826" v="18693" actId="20577"/>
        <pc:sldMkLst>
          <pc:docMk/>
          <pc:sldMk cId="19442088" sldId="3543"/>
        </pc:sldMkLst>
        <pc:spChg chg="mod">
          <ac:chgData name="Leiter, Tristan Kilian" userId="aff616bd-4ba4-4d5a-a6ae-24fbc901fafd" providerId="ADAL" clId="{D292643D-2054-4A69-9325-26675E8D7072}" dt="2025-11-16T18:30:47.118" v="12092" actId="20577"/>
          <ac:spMkLst>
            <pc:docMk/>
            <pc:sldMk cId="19442088" sldId="3543"/>
            <ac:spMk id="2" creationId="{2CB2314C-AA6F-EB69-1358-226F17E9AEC0}"/>
          </ac:spMkLst>
        </pc:spChg>
        <pc:spChg chg="mod">
          <ac:chgData name="Leiter, Tristan Kilian" userId="aff616bd-4ba4-4d5a-a6ae-24fbc901fafd" providerId="ADAL" clId="{D292643D-2054-4A69-9325-26675E8D7072}" dt="2025-11-16T18:30:30.383" v="12082"/>
          <ac:spMkLst>
            <pc:docMk/>
            <pc:sldMk cId="19442088" sldId="3543"/>
            <ac:spMk id="3" creationId="{0B29F8ED-6E7F-CFDA-4FDA-A8947CD32343}"/>
          </ac:spMkLst>
        </pc:spChg>
        <pc:spChg chg="add mod">
          <ac:chgData name="Leiter, Tristan Kilian" userId="aff616bd-4ba4-4d5a-a6ae-24fbc901fafd" providerId="ADAL" clId="{D292643D-2054-4A69-9325-26675E8D7072}" dt="2025-11-18T17:37:31.826" v="18693" actId="20577"/>
          <ac:spMkLst>
            <pc:docMk/>
            <pc:sldMk cId="19442088" sldId="3543"/>
            <ac:spMk id="19" creationId="{DA79D643-7EF6-5BBE-6D15-DD1593CAC590}"/>
          </ac:spMkLst>
        </pc:spChg>
        <pc:spChg chg="add mod">
          <ac:chgData name="Leiter, Tristan Kilian" userId="aff616bd-4ba4-4d5a-a6ae-24fbc901fafd" providerId="ADAL" clId="{D292643D-2054-4A69-9325-26675E8D7072}" dt="2025-11-16T18:30:57.181" v="12100" actId="1038"/>
          <ac:spMkLst>
            <pc:docMk/>
            <pc:sldMk cId="19442088" sldId="3543"/>
            <ac:spMk id="20" creationId="{B9A46654-586C-84FF-9AAF-26712E9C93DE}"/>
          </ac:spMkLst>
        </pc:spChg>
        <pc:spChg chg="mod">
          <ac:chgData name="Leiter, Tristan Kilian" userId="aff616bd-4ba4-4d5a-a6ae-24fbc901fafd" providerId="ADAL" clId="{D292643D-2054-4A69-9325-26675E8D7072}" dt="2025-11-16T18:31:01.696" v="12101"/>
          <ac:spMkLst>
            <pc:docMk/>
            <pc:sldMk cId="19442088" sldId="3543"/>
            <ac:spMk id="25" creationId="{05329E33-0185-CCA8-3852-CC1425CFFC31}"/>
          </ac:spMkLst>
        </pc:spChg>
        <pc:spChg chg="add mod">
          <ac:chgData name="Leiter, Tristan Kilian" userId="aff616bd-4ba4-4d5a-a6ae-24fbc901fafd" providerId="ADAL" clId="{D292643D-2054-4A69-9325-26675E8D7072}" dt="2025-11-16T18:31:01.696" v="12101"/>
          <ac:spMkLst>
            <pc:docMk/>
            <pc:sldMk cId="19442088" sldId="3543"/>
            <ac:spMk id="26" creationId="{0BDEB141-BCCC-985E-84F6-118BCB401AC2}"/>
          </ac:spMkLst>
        </pc:spChg>
        <pc:grpChg chg="add mod">
          <ac:chgData name="Leiter, Tristan Kilian" userId="aff616bd-4ba4-4d5a-a6ae-24fbc901fafd" providerId="ADAL" clId="{D292643D-2054-4A69-9325-26675E8D7072}" dt="2025-11-16T18:31:01.696" v="12101"/>
          <ac:grpSpMkLst>
            <pc:docMk/>
            <pc:sldMk cId="19442088" sldId="3543"/>
            <ac:grpSpMk id="23" creationId="{C30709F8-B76F-ADF2-26C9-D19584BC833C}"/>
          </ac:grpSpMkLst>
        </pc:grpChg>
        <pc:picChg chg="mod">
          <ac:chgData name="Leiter, Tristan Kilian" userId="aff616bd-4ba4-4d5a-a6ae-24fbc901fafd" providerId="ADAL" clId="{D292643D-2054-4A69-9325-26675E8D7072}" dt="2025-11-16T18:31:01.696" v="12101"/>
          <ac:picMkLst>
            <pc:docMk/>
            <pc:sldMk cId="19442088" sldId="3543"/>
            <ac:picMk id="24" creationId="{859A4A94-F964-D58C-1B9B-BAD97E94E3F2}"/>
          </ac:picMkLst>
        </pc:picChg>
        <pc:cxnChg chg="add mod">
          <ac:chgData name="Leiter, Tristan Kilian" userId="aff616bd-4ba4-4d5a-a6ae-24fbc901fafd" providerId="ADAL" clId="{D292643D-2054-4A69-9325-26675E8D7072}" dt="2025-11-16T18:30:57.181" v="12100" actId="1038"/>
          <ac:cxnSpMkLst>
            <pc:docMk/>
            <pc:sldMk cId="19442088" sldId="3543"/>
            <ac:cxnSpMk id="22" creationId="{FD1554FD-F339-B3BE-D1C2-7111FA634E0A}"/>
          </ac:cxnSpMkLst>
        </pc:cxnChg>
      </pc:sldChg>
      <pc:sldChg chg="addSp delSp modSp new del mod">
        <pc:chgData name="Leiter, Tristan Kilian" userId="aff616bd-4ba4-4d5a-a6ae-24fbc901fafd" providerId="ADAL" clId="{D292643D-2054-4A69-9325-26675E8D7072}" dt="2025-11-16T18:48:52.017" v="13211" actId="47"/>
        <pc:sldMkLst>
          <pc:docMk/>
          <pc:sldMk cId="3946894815" sldId="3544"/>
        </pc:sldMkLst>
      </pc:sldChg>
      <pc:sldChg chg="modSp add del mod">
        <pc:chgData name="Leiter, Tristan Kilian" userId="aff616bd-4ba4-4d5a-a6ae-24fbc901fafd" providerId="ADAL" clId="{D292643D-2054-4A69-9325-26675E8D7072}" dt="2025-11-16T19:12:13.013" v="14881" actId="47"/>
        <pc:sldMkLst>
          <pc:docMk/>
          <pc:sldMk cId="2711005397" sldId="3545"/>
        </pc:sldMkLst>
      </pc:sldChg>
      <pc:sldChg chg="delSp modSp add del mod">
        <pc:chgData name="Leiter, Tristan Kilian" userId="aff616bd-4ba4-4d5a-a6ae-24fbc901fafd" providerId="ADAL" clId="{D292643D-2054-4A69-9325-26675E8D7072}" dt="2025-11-16T19:06:50.329" v="14739" actId="47"/>
        <pc:sldMkLst>
          <pc:docMk/>
          <pc:sldMk cId="3666014384" sldId="3546"/>
        </pc:sldMkLst>
      </pc:sldChg>
      <pc:sldChg chg="delSp modSp add del mod">
        <pc:chgData name="Leiter, Tristan Kilian" userId="aff616bd-4ba4-4d5a-a6ae-24fbc901fafd" providerId="ADAL" clId="{D292643D-2054-4A69-9325-26675E8D7072}" dt="2025-11-16T19:06:51.466" v="14740" actId="47"/>
        <pc:sldMkLst>
          <pc:docMk/>
          <pc:sldMk cId="2084559297" sldId="3547"/>
        </pc:sldMkLst>
      </pc:sldChg>
      <pc:sldChg chg="addSp delSp modSp add del mod">
        <pc:chgData name="Leiter, Tristan Kilian" userId="aff616bd-4ba4-4d5a-a6ae-24fbc901fafd" providerId="ADAL" clId="{D292643D-2054-4A69-9325-26675E8D7072}" dt="2025-11-16T19:10:55.586" v="14841" actId="47"/>
        <pc:sldMkLst>
          <pc:docMk/>
          <pc:sldMk cId="326753797" sldId="3548"/>
        </pc:sldMkLst>
      </pc:sldChg>
      <pc:sldChg chg="addSp delSp modSp add del mod">
        <pc:chgData name="Leiter, Tristan Kilian" userId="aff616bd-4ba4-4d5a-a6ae-24fbc901fafd" providerId="ADAL" clId="{D292643D-2054-4A69-9325-26675E8D7072}" dt="2025-11-16T19:11:20.081" v="14848" actId="47"/>
        <pc:sldMkLst>
          <pc:docMk/>
          <pc:sldMk cId="3829429233" sldId="3549"/>
        </pc:sldMkLst>
      </pc:sldChg>
      <pc:sldChg chg="delSp add del mod">
        <pc:chgData name="Leiter, Tristan Kilian" userId="aff616bd-4ba4-4d5a-a6ae-24fbc901fafd" providerId="ADAL" clId="{D292643D-2054-4A69-9325-26675E8D7072}" dt="2025-11-16T19:11:24.049" v="14850" actId="47"/>
        <pc:sldMkLst>
          <pc:docMk/>
          <pc:sldMk cId="4262488789" sldId="3550"/>
        </pc:sldMkLst>
      </pc:sldChg>
      <pc:sldChg chg="addSp modSp new mod">
        <pc:chgData name="Leiter, Tristan Kilian" userId="aff616bd-4ba4-4d5a-a6ae-24fbc901fafd" providerId="ADAL" clId="{D292643D-2054-4A69-9325-26675E8D7072}" dt="2025-11-18T17:39:49.104" v="18759" actId="20577"/>
        <pc:sldMkLst>
          <pc:docMk/>
          <pc:sldMk cId="4041774381" sldId="3551"/>
        </pc:sldMkLst>
        <pc:spChg chg="mod">
          <ac:chgData name="Leiter, Tristan Kilian" userId="aff616bd-4ba4-4d5a-a6ae-24fbc901fafd" providerId="ADAL" clId="{D292643D-2054-4A69-9325-26675E8D7072}" dt="2025-11-18T17:39:49.104" v="18759" actId="20577"/>
          <ac:spMkLst>
            <pc:docMk/>
            <pc:sldMk cId="4041774381" sldId="3551"/>
            <ac:spMk id="2" creationId="{37787A51-920B-93C8-7003-90A96C04E485}"/>
          </ac:spMkLst>
        </pc:spChg>
        <pc:spChg chg="mod">
          <ac:chgData name="Leiter, Tristan Kilian" userId="aff616bd-4ba4-4d5a-a6ae-24fbc901fafd" providerId="ADAL" clId="{D292643D-2054-4A69-9325-26675E8D7072}" dt="2025-11-16T19:10:26.309" v="14835" actId="20577"/>
          <ac:spMkLst>
            <pc:docMk/>
            <pc:sldMk cId="4041774381" sldId="3551"/>
            <ac:spMk id="3" creationId="{ED526D9F-EF52-3AFF-1C16-4EDA854D293B}"/>
          </ac:spMkLst>
        </pc:spChg>
        <pc:spChg chg="mod">
          <ac:chgData name="Leiter, Tristan Kilian" userId="aff616bd-4ba4-4d5a-a6ae-24fbc901fafd" providerId="ADAL" clId="{D292643D-2054-4A69-9325-26675E8D7072}" dt="2025-11-16T19:10:43.401" v="14836"/>
          <ac:spMkLst>
            <pc:docMk/>
            <pc:sldMk cId="4041774381" sldId="3551"/>
            <ac:spMk id="6" creationId="{68560BB0-E910-F259-16D5-05BB65D74CDA}"/>
          </ac:spMkLst>
        </pc:spChg>
        <pc:spChg chg="add mod">
          <ac:chgData name="Leiter, Tristan Kilian" userId="aff616bd-4ba4-4d5a-a6ae-24fbc901fafd" providerId="ADAL" clId="{D292643D-2054-4A69-9325-26675E8D7072}" dt="2025-11-16T19:59:40.229" v="17806" actId="20577"/>
          <ac:spMkLst>
            <pc:docMk/>
            <pc:sldMk cId="4041774381" sldId="3551"/>
            <ac:spMk id="8" creationId="{536BA3DD-D715-042D-EDB4-6A97596FC64A}"/>
          </ac:spMkLst>
        </pc:spChg>
        <pc:spChg chg="add mod">
          <ac:chgData name="Leiter, Tristan Kilian" userId="aff616bd-4ba4-4d5a-a6ae-24fbc901fafd" providerId="ADAL" clId="{D292643D-2054-4A69-9325-26675E8D7072}" dt="2025-11-16T19:10:43.401" v="14836"/>
          <ac:spMkLst>
            <pc:docMk/>
            <pc:sldMk cId="4041774381" sldId="3551"/>
            <ac:spMk id="10" creationId="{B60FCDEF-4FCB-4DBA-0ECE-1CEB60714DDC}"/>
          </ac:spMkLst>
        </pc:spChg>
        <pc:spChg chg="mod">
          <ac:chgData name="Leiter, Tristan Kilian" userId="aff616bd-4ba4-4d5a-a6ae-24fbc901fafd" providerId="ADAL" clId="{D292643D-2054-4A69-9325-26675E8D7072}" dt="2025-11-16T19:10:43.401" v="14836"/>
          <ac:spMkLst>
            <pc:docMk/>
            <pc:sldMk cId="4041774381" sldId="3551"/>
            <ac:spMk id="14" creationId="{45A0EF70-70EC-9F61-4B16-C0A1AC3F147E}"/>
          </ac:spMkLst>
        </pc:spChg>
        <pc:spChg chg="mod">
          <ac:chgData name="Leiter, Tristan Kilian" userId="aff616bd-4ba4-4d5a-a6ae-24fbc901fafd" providerId="ADAL" clId="{D292643D-2054-4A69-9325-26675E8D7072}" dt="2025-11-16T19:10:43.401" v="14836"/>
          <ac:spMkLst>
            <pc:docMk/>
            <pc:sldMk cId="4041774381" sldId="3551"/>
            <ac:spMk id="15" creationId="{B3C48798-1DE6-9A59-2847-F785A17035DA}"/>
          </ac:spMkLst>
        </pc:spChg>
        <pc:grpChg chg="add mod">
          <ac:chgData name="Leiter, Tristan Kilian" userId="aff616bd-4ba4-4d5a-a6ae-24fbc901fafd" providerId="ADAL" clId="{D292643D-2054-4A69-9325-26675E8D7072}" dt="2025-11-16T19:10:43.401" v="14836"/>
          <ac:grpSpMkLst>
            <pc:docMk/>
            <pc:sldMk cId="4041774381" sldId="3551"/>
            <ac:grpSpMk id="5" creationId="{96E2A7EA-26BD-D530-329C-812D0FE4B223}"/>
          </ac:grpSpMkLst>
        </pc:grpChg>
        <pc:grpChg chg="add mod">
          <ac:chgData name="Leiter, Tristan Kilian" userId="aff616bd-4ba4-4d5a-a6ae-24fbc901fafd" providerId="ADAL" clId="{D292643D-2054-4A69-9325-26675E8D7072}" dt="2025-11-16T19:10:43.401" v="14836"/>
          <ac:grpSpMkLst>
            <pc:docMk/>
            <pc:sldMk cId="4041774381" sldId="3551"/>
            <ac:grpSpMk id="13" creationId="{F23EAF50-3641-E13E-E167-ED8EAED6F56F}"/>
          </ac:grpSpMkLst>
        </pc:grpChg>
        <pc:picChg chg="add mod">
          <ac:chgData name="Leiter, Tristan Kilian" userId="aff616bd-4ba4-4d5a-a6ae-24fbc901fafd" providerId="ADAL" clId="{D292643D-2054-4A69-9325-26675E8D7072}" dt="2025-11-16T19:10:43.401" v="14836"/>
          <ac:picMkLst>
            <pc:docMk/>
            <pc:sldMk cId="4041774381" sldId="3551"/>
            <ac:picMk id="4" creationId="{6CC68D71-5895-EB71-43BF-E5A9FFFED3D9}"/>
          </ac:picMkLst>
        </pc:picChg>
        <pc:cxnChg chg="add mod">
          <ac:chgData name="Leiter, Tristan Kilian" userId="aff616bd-4ba4-4d5a-a6ae-24fbc901fafd" providerId="ADAL" clId="{D292643D-2054-4A69-9325-26675E8D7072}" dt="2025-11-16T19:10:43.401" v="14836"/>
          <ac:cxnSpMkLst>
            <pc:docMk/>
            <pc:sldMk cId="4041774381" sldId="3551"/>
            <ac:cxnSpMk id="9" creationId="{8499275B-693A-E65A-2959-5337ADA2D944}"/>
          </ac:cxnSpMkLst>
        </pc:cxnChg>
        <pc:cxnChg chg="add mod">
          <ac:chgData name="Leiter, Tristan Kilian" userId="aff616bd-4ba4-4d5a-a6ae-24fbc901fafd" providerId="ADAL" clId="{D292643D-2054-4A69-9325-26675E8D7072}" dt="2025-11-16T19:10:43.401" v="14836"/>
          <ac:cxnSpMkLst>
            <pc:docMk/>
            <pc:sldMk cId="4041774381" sldId="3551"/>
            <ac:cxnSpMk id="12" creationId="{D99F3B65-9214-1F8C-6EE6-CC88290A8369}"/>
          </ac:cxnSpMkLst>
        </pc:cxnChg>
      </pc:sldChg>
      <pc:sldChg chg="addSp delSp modSp add mod">
        <pc:chgData name="Leiter, Tristan Kilian" userId="aff616bd-4ba4-4d5a-a6ae-24fbc901fafd" providerId="ADAL" clId="{D292643D-2054-4A69-9325-26675E8D7072}" dt="2025-11-18T17:40:32.844" v="18763" actId="33524"/>
        <pc:sldMkLst>
          <pc:docMk/>
          <pc:sldMk cId="3396985165" sldId="3552"/>
        </pc:sldMkLst>
        <pc:spChg chg="mod">
          <ac:chgData name="Leiter, Tristan Kilian" userId="aff616bd-4ba4-4d5a-a6ae-24fbc901fafd" providerId="ADAL" clId="{D292643D-2054-4A69-9325-26675E8D7072}" dt="2025-11-16T19:29:31.282" v="16570" actId="20577"/>
          <ac:spMkLst>
            <pc:docMk/>
            <pc:sldMk cId="3396985165" sldId="3552"/>
            <ac:spMk id="2" creationId="{31E21047-D2BE-AF58-1576-9DFFCDD28325}"/>
          </ac:spMkLst>
        </pc:spChg>
        <pc:spChg chg="mod">
          <ac:chgData name="Leiter, Tristan Kilian" userId="aff616bd-4ba4-4d5a-a6ae-24fbc901fafd" providerId="ADAL" clId="{D292643D-2054-4A69-9325-26675E8D7072}" dt="2025-11-16T19:11:13.928" v="14847"/>
          <ac:spMkLst>
            <pc:docMk/>
            <pc:sldMk cId="3396985165" sldId="3552"/>
            <ac:spMk id="18" creationId="{2A4C805B-9C66-039B-DCE9-21145B96B7F4}"/>
          </ac:spMkLst>
        </pc:spChg>
        <pc:spChg chg="add mod">
          <ac:chgData name="Leiter, Tristan Kilian" userId="aff616bd-4ba4-4d5a-a6ae-24fbc901fafd" providerId="ADAL" clId="{D292643D-2054-4A69-9325-26675E8D7072}" dt="2025-11-18T17:40:32.844" v="18763" actId="33524"/>
          <ac:spMkLst>
            <pc:docMk/>
            <pc:sldMk cId="3396985165" sldId="3552"/>
            <ac:spMk id="20" creationId="{54000707-CA5C-BE1B-6BD9-D2CCBB5EFA96}"/>
          </ac:spMkLst>
        </pc:spChg>
        <pc:spChg chg="mod">
          <ac:chgData name="Leiter, Tristan Kilian" userId="aff616bd-4ba4-4d5a-a6ae-24fbc901fafd" providerId="ADAL" clId="{D292643D-2054-4A69-9325-26675E8D7072}" dt="2025-11-16T19:11:13.928" v="14847"/>
          <ac:spMkLst>
            <pc:docMk/>
            <pc:sldMk cId="3396985165" sldId="3552"/>
            <ac:spMk id="23" creationId="{D1843BBC-DCF6-0066-9870-FA7BC2E2041B}"/>
          </ac:spMkLst>
        </pc:spChg>
        <pc:spChg chg="mod">
          <ac:chgData name="Leiter, Tristan Kilian" userId="aff616bd-4ba4-4d5a-a6ae-24fbc901fafd" providerId="ADAL" clId="{D292643D-2054-4A69-9325-26675E8D7072}" dt="2025-11-16T19:11:13.928" v="14847"/>
          <ac:spMkLst>
            <pc:docMk/>
            <pc:sldMk cId="3396985165" sldId="3552"/>
            <ac:spMk id="24" creationId="{E6FFFA0B-7C0D-E912-DE7A-1B4B7A2ECC64}"/>
          </ac:spMkLst>
        </pc:spChg>
        <pc:spChg chg="add mod">
          <ac:chgData name="Leiter, Tristan Kilian" userId="aff616bd-4ba4-4d5a-a6ae-24fbc901fafd" providerId="ADAL" clId="{D292643D-2054-4A69-9325-26675E8D7072}" dt="2025-11-16T19:11:13.928" v="14847"/>
          <ac:spMkLst>
            <pc:docMk/>
            <pc:sldMk cId="3396985165" sldId="3552"/>
            <ac:spMk id="26" creationId="{70584F31-7910-0C1B-A594-CC8D6A194558}"/>
          </ac:spMkLst>
        </pc:spChg>
        <pc:grpChg chg="add mod">
          <ac:chgData name="Leiter, Tristan Kilian" userId="aff616bd-4ba4-4d5a-a6ae-24fbc901fafd" providerId="ADAL" clId="{D292643D-2054-4A69-9325-26675E8D7072}" dt="2025-11-16T19:11:13.928" v="14847"/>
          <ac:grpSpMkLst>
            <pc:docMk/>
            <pc:sldMk cId="3396985165" sldId="3552"/>
            <ac:grpSpMk id="17" creationId="{C222BCAE-1F66-6905-70F0-3B50F5BD3544}"/>
          </ac:grpSpMkLst>
        </pc:grpChg>
        <pc:grpChg chg="add mod">
          <ac:chgData name="Leiter, Tristan Kilian" userId="aff616bd-4ba4-4d5a-a6ae-24fbc901fafd" providerId="ADAL" clId="{D292643D-2054-4A69-9325-26675E8D7072}" dt="2025-11-16T19:11:13.928" v="14847"/>
          <ac:grpSpMkLst>
            <pc:docMk/>
            <pc:sldMk cId="3396985165" sldId="3552"/>
            <ac:grpSpMk id="22" creationId="{368DAFD5-69F2-16EE-D3CE-4AE8AE97CCA9}"/>
          </ac:grpSpMkLst>
        </pc:grpChg>
        <pc:picChg chg="add mod">
          <ac:chgData name="Leiter, Tristan Kilian" userId="aff616bd-4ba4-4d5a-a6ae-24fbc901fafd" providerId="ADAL" clId="{D292643D-2054-4A69-9325-26675E8D7072}" dt="2025-11-16T19:11:13.928" v="14847"/>
          <ac:picMkLst>
            <pc:docMk/>
            <pc:sldMk cId="3396985165" sldId="3552"/>
            <ac:picMk id="16" creationId="{A187766E-63DD-7204-CAA9-F75E0D1FD352}"/>
          </ac:picMkLst>
        </pc:picChg>
        <pc:cxnChg chg="add mod">
          <ac:chgData name="Leiter, Tristan Kilian" userId="aff616bd-4ba4-4d5a-a6ae-24fbc901fafd" providerId="ADAL" clId="{D292643D-2054-4A69-9325-26675E8D7072}" dt="2025-11-16T19:11:13.928" v="14847"/>
          <ac:cxnSpMkLst>
            <pc:docMk/>
            <pc:sldMk cId="3396985165" sldId="3552"/>
            <ac:cxnSpMk id="21" creationId="{08617676-7018-D163-8E2A-844CC3A68621}"/>
          </ac:cxnSpMkLst>
        </pc:cxnChg>
        <pc:cxnChg chg="add mod">
          <ac:chgData name="Leiter, Tristan Kilian" userId="aff616bd-4ba4-4d5a-a6ae-24fbc901fafd" providerId="ADAL" clId="{D292643D-2054-4A69-9325-26675E8D7072}" dt="2025-11-16T19:11:13.928" v="14847"/>
          <ac:cxnSpMkLst>
            <pc:docMk/>
            <pc:sldMk cId="3396985165" sldId="3552"/>
            <ac:cxnSpMk id="27" creationId="{2127A4AD-9510-26F0-6BF3-F6E2B0E8FAB9}"/>
          </ac:cxnSpMkLst>
        </pc:cxnChg>
      </pc:sldChg>
      <pc:sldChg chg="addSp delSp modSp add mod">
        <pc:chgData name="Leiter, Tristan Kilian" userId="aff616bd-4ba4-4d5a-a6ae-24fbc901fafd" providerId="ADAL" clId="{D292643D-2054-4A69-9325-26675E8D7072}" dt="2025-11-18T17:41:24.319" v="18779" actId="20577"/>
        <pc:sldMkLst>
          <pc:docMk/>
          <pc:sldMk cId="1340473074" sldId="3553"/>
        </pc:sldMkLst>
        <pc:spChg chg="mod">
          <ac:chgData name="Leiter, Tristan Kilian" userId="aff616bd-4ba4-4d5a-a6ae-24fbc901fafd" providerId="ADAL" clId="{D292643D-2054-4A69-9325-26675E8D7072}" dt="2025-11-16T19:27:54.010" v="16492" actId="20577"/>
          <ac:spMkLst>
            <pc:docMk/>
            <pc:sldMk cId="1340473074" sldId="3553"/>
            <ac:spMk id="2" creationId="{4FDA7D0C-8BCC-2B82-E30C-22F9C255FF2D}"/>
          </ac:spMkLst>
        </pc:spChg>
        <pc:spChg chg="mod">
          <ac:chgData name="Leiter, Tristan Kilian" userId="aff616bd-4ba4-4d5a-a6ae-24fbc901fafd" providerId="ADAL" clId="{D292643D-2054-4A69-9325-26675E8D7072}" dt="2025-11-16T19:27:56.562" v="16493" actId="20577"/>
          <ac:spMkLst>
            <pc:docMk/>
            <pc:sldMk cId="1340473074" sldId="3553"/>
            <ac:spMk id="3" creationId="{9E7F16B4-D9DE-BC04-079C-03A4FBA3AC41}"/>
          </ac:spMkLst>
        </pc:spChg>
        <pc:spChg chg="add mod">
          <ac:chgData name="Leiter, Tristan Kilian" userId="aff616bd-4ba4-4d5a-a6ae-24fbc901fafd" providerId="ADAL" clId="{D292643D-2054-4A69-9325-26675E8D7072}" dt="2025-11-18T17:41:07.863" v="18769" actId="20577"/>
          <ac:spMkLst>
            <pc:docMk/>
            <pc:sldMk cId="1340473074" sldId="3553"/>
            <ac:spMk id="9" creationId="{278B2A9F-A8F7-7915-D32D-176D06C2CC1E}"/>
          </ac:spMkLst>
        </pc:spChg>
        <pc:spChg chg="add mod">
          <ac:chgData name="Leiter, Tristan Kilian" userId="aff616bd-4ba4-4d5a-a6ae-24fbc901fafd" providerId="ADAL" clId="{D292643D-2054-4A69-9325-26675E8D7072}" dt="2025-11-18T17:29:35.641" v="18687" actId="20577"/>
          <ac:spMkLst>
            <pc:docMk/>
            <pc:sldMk cId="1340473074" sldId="3553"/>
            <ac:spMk id="10" creationId="{AF5468CB-E9DE-8A90-87BF-21F6175A2819}"/>
          </ac:spMkLst>
        </pc:spChg>
        <pc:spChg chg="add mod">
          <ac:chgData name="Leiter, Tristan Kilian" userId="aff616bd-4ba4-4d5a-a6ae-24fbc901fafd" providerId="ADAL" clId="{D292643D-2054-4A69-9325-26675E8D7072}" dt="2025-11-16T19:22:18.385" v="15640" actId="1035"/>
          <ac:spMkLst>
            <pc:docMk/>
            <pc:sldMk cId="1340473074" sldId="3553"/>
            <ac:spMk id="13" creationId="{D4E52AC9-18F0-B7E5-C4FB-08435F61F5EC}"/>
          </ac:spMkLst>
        </pc:spChg>
        <pc:spChg chg="add mod">
          <ac:chgData name="Leiter, Tristan Kilian" userId="aff616bd-4ba4-4d5a-a6ae-24fbc901fafd" providerId="ADAL" clId="{D292643D-2054-4A69-9325-26675E8D7072}" dt="2025-11-18T17:41:24.319" v="18779" actId="20577"/>
          <ac:spMkLst>
            <pc:docMk/>
            <pc:sldMk cId="1340473074" sldId="3553"/>
            <ac:spMk id="14" creationId="{E28967D1-2097-96B3-A88B-F4E3548AF365}"/>
          </ac:spMkLst>
        </pc:spChg>
        <pc:spChg chg="add mod">
          <ac:chgData name="Leiter, Tristan Kilian" userId="aff616bd-4ba4-4d5a-a6ae-24fbc901fafd" providerId="ADAL" clId="{D292643D-2054-4A69-9325-26675E8D7072}" dt="2025-11-16T19:27:06.561" v="16326" actId="1036"/>
          <ac:spMkLst>
            <pc:docMk/>
            <pc:sldMk cId="1340473074" sldId="3553"/>
            <ac:spMk id="29" creationId="{78D76B13-AE7D-5EB9-8631-3C58746E150D}"/>
          </ac:spMkLst>
        </pc:spChg>
        <pc:spChg chg="add mod">
          <ac:chgData name="Leiter, Tristan Kilian" userId="aff616bd-4ba4-4d5a-a6ae-24fbc901fafd" providerId="ADAL" clId="{D292643D-2054-4A69-9325-26675E8D7072}" dt="2025-11-16T19:26:24.036" v="16303" actId="1076"/>
          <ac:spMkLst>
            <pc:docMk/>
            <pc:sldMk cId="1340473074" sldId="3553"/>
            <ac:spMk id="31" creationId="{25ED6B68-E828-D295-A5B3-0EBADF3AEF4E}"/>
          </ac:spMkLst>
        </pc:spChg>
        <pc:spChg chg="add mod">
          <ac:chgData name="Leiter, Tristan Kilian" userId="aff616bd-4ba4-4d5a-a6ae-24fbc901fafd" providerId="ADAL" clId="{D292643D-2054-4A69-9325-26675E8D7072}" dt="2025-11-16T19:26:24.036" v="16303" actId="1076"/>
          <ac:spMkLst>
            <pc:docMk/>
            <pc:sldMk cId="1340473074" sldId="3553"/>
            <ac:spMk id="32" creationId="{2C5D9D65-92E7-AD52-BD05-330C905C64E3}"/>
          </ac:spMkLst>
        </pc:spChg>
        <pc:spChg chg="add mod ord">
          <ac:chgData name="Leiter, Tristan Kilian" userId="aff616bd-4ba4-4d5a-a6ae-24fbc901fafd" providerId="ADAL" clId="{D292643D-2054-4A69-9325-26675E8D7072}" dt="2025-11-16T19:26:20.259" v="16302" actId="167"/>
          <ac:spMkLst>
            <pc:docMk/>
            <pc:sldMk cId="1340473074" sldId="3553"/>
            <ac:spMk id="33" creationId="{C7C0AA6F-C710-4722-DA45-F944E0DD9D43}"/>
          </ac:spMkLst>
        </pc:spChg>
        <pc:spChg chg="add mod">
          <ac:chgData name="Leiter, Tristan Kilian" userId="aff616bd-4ba4-4d5a-a6ae-24fbc901fafd" providerId="ADAL" clId="{D292643D-2054-4A69-9325-26675E8D7072}" dt="2025-11-16T19:26:56.546" v="16312" actId="1076"/>
          <ac:spMkLst>
            <pc:docMk/>
            <pc:sldMk cId="1340473074" sldId="3553"/>
            <ac:spMk id="34" creationId="{8D79E466-3B29-B95D-848A-F71E8921E9DB}"/>
          </ac:spMkLst>
        </pc:spChg>
        <pc:spChg chg="add mod">
          <ac:chgData name="Leiter, Tristan Kilian" userId="aff616bd-4ba4-4d5a-a6ae-24fbc901fafd" providerId="ADAL" clId="{D292643D-2054-4A69-9325-26675E8D7072}" dt="2025-11-16T19:26:56.546" v="16312" actId="1076"/>
          <ac:spMkLst>
            <pc:docMk/>
            <pc:sldMk cId="1340473074" sldId="3553"/>
            <ac:spMk id="35" creationId="{DB4291C4-E75A-C58B-05B9-E57AE09B8034}"/>
          </ac:spMkLst>
        </pc:spChg>
        <pc:spChg chg="add mod ord">
          <ac:chgData name="Leiter, Tristan Kilian" userId="aff616bd-4ba4-4d5a-a6ae-24fbc901fafd" providerId="ADAL" clId="{D292643D-2054-4A69-9325-26675E8D7072}" dt="2025-11-16T19:26:53.493" v="16311" actId="1076"/>
          <ac:spMkLst>
            <pc:docMk/>
            <pc:sldMk cId="1340473074" sldId="3553"/>
            <ac:spMk id="36" creationId="{C8AC5C54-6FBC-E963-5751-69FD4CFB8220}"/>
          </ac:spMkLst>
        </pc:spChg>
        <pc:cxnChg chg="add mod">
          <ac:chgData name="Leiter, Tristan Kilian" userId="aff616bd-4ba4-4d5a-a6ae-24fbc901fafd" providerId="ADAL" clId="{D292643D-2054-4A69-9325-26675E8D7072}" dt="2025-11-16T19:26:07.762" v="16298" actId="14100"/>
          <ac:cxnSpMkLst>
            <pc:docMk/>
            <pc:sldMk cId="1340473074" sldId="3553"/>
            <ac:cxnSpMk id="38" creationId="{5CB6779E-6AA3-7817-4C81-A70044F14CE3}"/>
          </ac:cxnSpMkLst>
        </pc:cxnChg>
        <pc:cxnChg chg="add mod">
          <ac:chgData name="Leiter, Tristan Kilian" userId="aff616bd-4ba4-4d5a-a6ae-24fbc901fafd" providerId="ADAL" clId="{D292643D-2054-4A69-9325-26675E8D7072}" dt="2025-11-16T19:26:53.493" v="16311" actId="1076"/>
          <ac:cxnSpMkLst>
            <pc:docMk/>
            <pc:sldMk cId="1340473074" sldId="3553"/>
            <ac:cxnSpMk id="40" creationId="{8F46D5DD-4515-18AC-F1B5-C6477E7AE6A1}"/>
          </ac:cxnSpMkLst>
        </pc:cxnChg>
      </pc:sldChg>
      <pc:sldChg chg="addSp delSp modSp add mod">
        <pc:chgData name="Leiter, Tristan Kilian" userId="aff616bd-4ba4-4d5a-a6ae-24fbc901fafd" providerId="ADAL" clId="{D292643D-2054-4A69-9325-26675E8D7072}" dt="2025-11-18T17:41:34.048" v="18781" actId="313"/>
        <pc:sldMkLst>
          <pc:docMk/>
          <pc:sldMk cId="2832060167" sldId="3554"/>
        </pc:sldMkLst>
        <pc:spChg chg="mod">
          <ac:chgData name="Leiter, Tristan Kilian" userId="aff616bd-4ba4-4d5a-a6ae-24fbc901fafd" providerId="ADAL" clId="{D292643D-2054-4A69-9325-26675E8D7072}" dt="2025-11-16T19:12:11.823" v="14880" actId="20577"/>
          <ac:spMkLst>
            <pc:docMk/>
            <pc:sldMk cId="2832060167" sldId="3554"/>
            <ac:spMk id="2" creationId="{1264A311-4750-2940-7924-3C7746CB42B3}"/>
          </ac:spMkLst>
        </pc:spChg>
        <pc:spChg chg="mod">
          <ac:chgData name="Leiter, Tristan Kilian" userId="aff616bd-4ba4-4d5a-a6ae-24fbc901fafd" providerId="ADAL" clId="{D292643D-2054-4A69-9325-26675E8D7072}" dt="2025-11-16T19:12:04.269" v="14878"/>
          <ac:spMkLst>
            <pc:docMk/>
            <pc:sldMk cId="2832060167" sldId="3554"/>
            <ac:spMk id="3" creationId="{49565257-A3BF-CBE2-FB5D-8DEC13993032}"/>
          </ac:spMkLst>
        </pc:spChg>
        <pc:spChg chg="mod ord">
          <ac:chgData name="Leiter, Tristan Kilian" userId="aff616bd-4ba4-4d5a-a6ae-24fbc901fafd" providerId="ADAL" clId="{D292643D-2054-4A69-9325-26675E8D7072}" dt="2025-11-18T17:29:03.659" v="18660" actId="1035"/>
          <ac:spMkLst>
            <pc:docMk/>
            <pc:sldMk cId="2832060167" sldId="3554"/>
            <ac:spMk id="4" creationId="{1717E7DD-FDF2-7490-3A0C-00CDDB4F29D8}"/>
          </ac:spMkLst>
        </pc:spChg>
        <pc:spChg chg="add mod">
          <ac:chgData name="Leiter, Tristan Kilian" userId="aff616bd-4ba4-4d5a-a6ae-24fbc901fafd" providerId="ADAL" clId="{D292643D-2054-4A69-9325-26675E8D7072}" dt="2025-11-16T20:41:11.639" v="17864" actId="1037"/>
          <ac:spMkLst>
            <pc:docMk/>
            <pc:sldMk cId="2832060167" sldId="3554"/>
            <ac:spMk id="10" creationId="{50638946-1791-2110-8234-6210D78AC823}"/>
          </ac:spMkLst>
        </pc:spChg>
        <pc:spChg chg="add mod">
          <ac:chgData name="Leiter, Tristan Kilian" userId="aff616bd-4ba4-4d5a-a6ae-24fbc901fafd" providerId="ADAL" clId="{D292643D-2054-4A69-9325-26675E8D7072}" dt="2025-11-16T20:43:51.533" v="18045" actId="1036"/>
          <ac:spMkLst>
            <pc:docMk/>
            <pc:sldMk cId="2832060167" sldId="3554"/>
            <ac:spMk id="16" creationId="{82438D33-03E4-F6B6-26CE-AE1D1EE5C887}"/>
          </ac:spMkLst>
        </pc:spChg>
        <pc:spChg chg="add mod">
          <ac:chgData name="Leiter, Tristan Kilian" userId="aff616bd-4ba4-4d5a-a6ae-24fbc901fafd" providerId="ADAL" clId="{D292643D-2054-4A69-9325-26675E8D7072}" dt="2025-11-18T17:41:34.048" v="18781" actId="313"/>
          <ac:spMkLst>
            <pc:docMk/>
            <pc:sldMk cId="2832060167" sldId="3554"/>
            <ac:spMk id="17" creationId="{906810B7-4895-2980-7BE1-92B896FE8F06}"/>
          </ac:spMkLst>
        </pc:spChg>
        <pc:spChg chg="add mod">
          <ac:chgData name="Leiter, Tristan Kilian" userId="aff616bd-4ba4-4d5a-a6ae-24fbc901fafd" providerId="ADAL" clId="{D292643D-2054-4A69-9325-26675E8D7072}" dt="2025-11-16T20:45:35.044" v="18241" actId="14100"/>
          <ac:spMkLst>
            <pc:docMk/>
            <pc:sldMk cId="2832060167" sldId="3554"/>
            <ac:spMk id="21" creationId="{8D698535-A405-F90D-7138-974D915C8E49}"/>
          </ac:spMkLst>
        </pc:spChg>
        <pc:spChg chg="add mod">
          <ac:chgData name="Leiter, Tristan Kilian" userId="aff616bd-4ba4-4d5a-a6ae-24fbc901fafd" providerId="ADAL" clId="{D292643D-2054-4A69-9325-26675E8D7072}" dt="2025-11-16T20:43:32.669" v="18001" actId="1038"/>
          <ac:spMkLst>
            <pc:docMk/>
            <pc:sldMk cId="2832060167" sldId="3554"/>
            <ac:spMk id="22" creationId="{4A4FF10E-AC36-5A08-6754-D280405F790A}"/>
          </ac:spMkLst>
        </pc:spChg>
        <pc:picChg chg="add mod ord">
          <ac:chgData name="Leiter, Tristan Kilian" userId="aff616bd-4ba4-4d5a-a6ae-24fbc901fafd" providerId="ADAL" clId="{D292643D-2054-4A69-9325-26675E8D7072}" dt="2025-11-18T17:20:19.503" v="18256" actId="167"/>
          <ac:picMkLst>
            <pc:docMk/>
            <pc:sldMk cId="2832060167" sldId="3554"/>
            <ac:picMk id="6" creationId="{D1447395-51D9-D314-EA99-4F7C2696C40B}"/>
          </ac:picMkLst>
        </pc:picChg>
        <pc:picChg chg="add del mod">
          <ac:chgData name="Leiter, Tristan Kilian" userId="aff616bd-4ba4-4d5a-a6ae-24fbc901fafd" providerId="ADAL" clId="{D292643D-2054-4A69-9325-26675E8D7072}" dt="2025-11-18T17:19:39.446" v="18244" actId="478"/>
          <ac:picMkLst>
            <pc:docMk/>
            <pc:sldMk cId="2832060167" sldId="3554"/>
            <ac:picMk id="24" creationId="{275AAC7C-0435-C152-F979-F373E6E8D7BA}"/>
          </ac:picMkLst>
        </pc:picChg>
        <pc:cxnChg chg="mod topLvl">
          <ac:chgData name="Leiter, Tristan Kilian" userId="aff616bd-4ba4-4d5a-a6ae-24fbc901fafd" providerId="ADAL" clId="{D292643D-2054-4A69-9325-26675E8D7072}" dt="2025-11-16T20:43:45.472" v="18003" actId="14100"/>
          <ac:cxnSpMkLst>
            <pc:docMk/>
            <pc:sldMk cId="2832060167" sldId="3554"/>
            <ac:cxnSpMk id="7" creationId="{1D3B2FE0-9511-6D9C-09E9-2DAFD7D4EDE8}"/>
          </ac:cxnSpMkLst>
        </pc:cxnChg>
        <pc:cxnChg chg="add mod">
          <ac:chgData name="Leiter, Tristan Kilian" userId="aff616bd-4ba4-4d5a-a6ae-24fbc901fafd" providerId="ADAL" clId="{D292643D-2054-4A69-9325-26675E8D7072}" dt="2025-11-16T20:43:36.175" v="18002" actId="14100"/>
          <ac:cxnSpMkLst>
            <pc:docMk/>
            <pc:sldMk cId="2832060167" sldId="3554"/>
            <ac:cxnSpMk id="9" creationId="{25C826BE-16A0-B0F1-2F6E-909D2208BC5A}"/>
          </ac:cxnSpMkLst>
        </pc:cxnChg>
        <pc:cxnChg chg="add mod">
          <ac:chgData name="Leiter, Tristan Kilian" userId="aff616bd-4ba4-4d5a-a6ae-24fbc901fafd" providerId="ADAL" clId="{D292643D-2054-4A69-9325-26675E8D7072}" dt="2025-11-16T20:43:32.669" v="18001" actId="1038"/>
          <ac:cxnSpMkLst>
            <pc:docMk/>
            <pc:sldMk cId="2832060167" sldId="3554"/>
            <ac:cxnSpMk id="12" creationId="{50E5F676-B951-E1FB-F37E-A5A35F41563F}"/>
          </ac:cxnSpMkLst>
        </pc:cxnChg>
      </pc:sldChg>
      <pc:sldChg chg="addSp delSp modSp add mod">
        <pc:chgData name="Leiter, Tristan Kilian" userId="aff616bd-4ba4-4d5a-a6ae-24fbc901fafd" providerId="ADAL" clId="{D292643D-2054-4A69-9325-26675E8D7072}" dt="2025-11-18T17:41:54.830" v="18784" actId="20577"/>
        <pc:sldMkLst>
          <pc:docMk/>
          <pc:sldMk cId="1502104978" sldId="3555"/>
        </pc:sldMkLst>
        <pc:spChg chg="mod">
          <ac:chgData name="Leiter, Tristan Kilian" userId="aff616bd-4ba4-4d5a-a6ae-24fbc901fafd" providerId="ADAL" clId="{D292643D-2054-4A69-9325-26675E8D7072}" dt="2025-11-18T17:41:54.830" v="18784" actId="20577"/>
          <ac:spMkLst>
            <pc:docMk/>
            <pc:sldMk cId="1502104978" sldId="3555"/>
            <ac:spMk id="2" creationId="{CD0AA404-1C84-8921-0963-9A72AFC467B8}"/>
          </ac:spMkLst>
        </pc:spChg>
        <pc:spChg chg="mod">
          <ac:chgData name="Leiter, Tristan Kilian" userId="aff616bd-4ba4-4d5a-a6ae-24fbc901fafd" providerId="ADAL" clId="{D292643D-2054-4A69-9325-26675E8D7072}" dt="2025-11-16T19:45:37.553" v="17352" actId="20577"/>
          <ac:spMkLst>
            <pc:docMk/>
            <pc:sldMk cId="1502104978" sldId="3555"/>
            <ac:spMk id="3" creationId="{3235D22A-5783-F562-945D-9A5F80AE8A3E}"/>
          </ac:spMkLst>
        </pc:spChg>
        <pc:spChg chg="mod">
          <ac:chgData name="Leiter, Tristan Kilian" userId="aff616bd-4ba4-4d5a-a6ae-24fbc901fafd" providerId="ADAL" clId="{D292643D-2054-4A69-9325-26675E8D7072}" dt="2025-11-16T19:45:11.298" v="17342" actId="14100"/>
          <ac:spMkLst>
            <pc:docMk/>
            <pc:sldMk cId="1502104978" sldId="3555"/>
            <ac:spMk id="5" creationId="{7308B706-41F8-9722-450B-435D575461E0}"/>
          </ac:spMkLst>
        </pc:spChg>
      </pc:sldChg>
      <pc:sldChg chg="modSp add mod">
        <pc:chgData name="Leiter, Tristan Kilian" userId="aff616bd-4ba4-4d5a-a6ae-24fbc901fafd" providerId="ADAL" clId="{D292643D-2054-4A69-9325-26675E8D7072}" dt="2025-11-16T20:46:17.575" v="18243" actId="14100"/>
        <pc:sldMkLst>
          <pc:docMk/>
          <pc:sldMk cId="1305861587" sldId="3556"/>
        </pc:sldMkLst>
        <pc:spChg chg="mod">
          <ac:chgData name="Leiter, Tristan Kilian" userId="aff616bd-4ba4-4d5a-a6ae-24fbc901fafd" providerId="ADAL" clId="{D292643D-2054-4A69-9325-26675E8D7072}" dt="2025-11-16T20:46:17.575" v="18243" actId="14100"/>
          <ac:spMkLst>
            <pc:docMk/>
            <pc:sldMk cId="1305861587" sldId="3556"/>
            <ac:spMk id="2" creationId="{A1A211D4-633D-417A-E230-BC116F07C545}"/>
          </ac:spMkLst>
        </pc:spChg>
      </pc:sldChg>
      <pc:sldChg chg="addSp delSp modSp add mod">
        <pc:chgData name="Leiter, Tristan Kilian" userId="aff616bd-4ba4-4d5a-a6ae-24fbc901fafd" providerId="ADAL" clId="{D292643D-2054-4A69-9325-26675E8D7072}" dt="2025-11-18T17:46:44.580" v="18813" actId="1076"/>
        <pc:sldMkLst>
          <pc:docMk/>
          <pc:sldMk cId="1410208881" sldId="3557"/>
        </pc:sldMkLst>
        <pc:spChg chg="del">
          <ac:chgData name="Leiter, Tristan Kilian" userId="aff616bd-4ba4-4d5a-a6ae-24fbc901fafd" providerId="ADAL" clId="{D292643D-2054-4A69-9325-26675E8D7072}" dt="2025-11-18T17:46:25.920" v="18806" actId="478"/>
          <ac:spMkLst>
            <pc:docMk/>
            <pc:sldMk cId="1410208881" sldId="3557"/>
            <ac:spMk id="2" creationId="{2482542E-F45E-017D-F1F1-12D5EBF90807}"/>
          </ac:spMkLst>
        </pc:spChg>
        <pc:spChg chg="mod">
          <ac:chgData name="Leiter, Tristan Kilian" userId="aff616bd-4ba4-4d5a-a6ae-24fbc901fafd" providerId="ADAL" clId="{D292643D-2054-4A69-9325-26675E8D7072}" dt="2025-11-18T17:46:21.799" v="18804" actId="20577"/>
          <ac:spMkLst>
            <pc:docMk/>
            <pc:sldMk cId="1410208881" sldId="3557"/>
            <ac:spMk id="3" creationId="{F07A3454-AFFD-4B20-B0FF-97A81EE32A19}"/>
          </ac:spMkLst>
        </pc:spChg>
        <pc:spChg chg="del">
          <ac:chgData name="Leiter, Tristan Kilian" userId="aff616bd-4ba4-4d5a-a6ae-24fbc901fafd" providerId="ADAL" clId="{D292643D-2054-4A69-9325-26675E8D7072}" dt="2025-11-18T17:46:23.327" v="18805" actId="478"/>
          <ac:spMkLst>
            <pc:docMk/>
            <pc:sldMk cId="1410208881" sldId="3557"/>
            <ac:spMk id="5" creationId="{3AEDB6EA-ABA5-2E64-3704-6578E9890B1D}"/>
          </ac:spMkLst>
        </pc:spChg>
        <pc:picChg chg="mod">
          <ac:chgData name="Leiter, Tristan Kilian" userId="aff616bd-4ba4-4d5a-a6ae-24fbc901fafd" providerId="ADAL" clId="{D292643D-2054-4A69-9325-26675E8D7072}" dt="2025-11-18T17:46:44.580" v="18813" actId="1076"/>
          <ac:picMkLst>
            <pc:docMk/>
            <pc:sldMk cId="1410208881" sldId="3557"/>
            <ac:picMk id="7" creationId="{A62F11F9-06DE-8A77-1D87-13A0CB95BB48}"/>
          </ac:picMkLst>
        </pc:picChg>
        <pc:picChg chg="add mod">
          <ac:chgData name="Leiter, Tristan Kilian" userId="aff616bd-4ba4-4d5a-a6ae-24fbc901fafd" providerId="ADAL" clId="{D292643D-2054-4A69-9325-26675E8D7072}" dt="2025-11-18T17:46:37.732" v="18811" actId="1076"/>
          <ac:picMkLst>
            <pc:docMk/>
            <pc:sldMk cId="1410208881" sldId="3557"/>
            <ac:picMk id="8" creationId="{3545EF80-3E44-0045-6CA7-E509B1BE1C2E}"/>
          </ac:picMkLst>
        </pc:picChg>
      </pc:sldChg>
      <pc:sldChg chg="new del">
        <pc:chgData name="Leiter, Tristan Kilian" userId="aff616bd-4ba4-4d5a-a6ae-24fbc901fafd" providerId="ADAL" clId="{D292643D-2054-4A69-9325-26675E8D7072}" dt="2025-11-16T20:45:29.227" v="18239" actId="47"/>
        <pc:sldMkLst>
          <pc:docMk/>
          <pc:sldMk cId="3262039446" sldId="3557"/>
        </pc:sldMkLst>
      </pc:sldChg>
      <pc:sldMasterChg chg="modSldLayout">
        <pc:chgData name="Leiter, Tristan Kilian" userId="aff616bd-4ba4-4d5a-a6ae-24fbc901fafd" providerId="ADAL" clId="{D292643D-2054-4A69-9325-26675E8D7072}" dt="2025-11-14T20:24:55.717" v="33" actId="735"/>
        <pc:sldMasterMkLst>
          <pc:docMk/>
          <pc:sldMasterMk cId="725776032" sldId="2147483648"/>
        </pc:sldMasterMkLst>
        <pc:sldLayoutChg chg="modSp">
          <pc:chgData name="Leiter, Tristan Kilian" userId="aff616bd-4ba4-4d5a-a6ae-24fbc901fafd" providerId="ADAL" clId="{D292643D-2054-4A69-9325-26675E8D7072}" dt="2025-11-14T20:24:47.515" v="31" actId="735"/>
          <pc:sldLayoutMkLst>
            <pc:docMk/>
            <pc:sldMasterMk cId="725776032" sldId="2147483648"/>
            <pc:sldLayoutMk cId="3243504665" sldId="2147483655"/>
          </pc:sldLayoutMkLst>
        </pc:sldLayoutChg>
        <pc:sldLayoutChg chg="modSp">
          <pc:chgData name="Leiter, Tristan Kilian" userId="aff616bd-4ba4-4d5a-a6ae-24fbc901fafd" providerId="ADAL" clId="{D292643D-2054-4A69-9325-26675E8D7072}" dt="2025-11-14T20:24:49.229" v="32" actId="735"/>
          <pc:sldLayoutMkLst>
            <pc:docMk/>
            <pc:sldMasterMk cId="725776032" sldId="2147483648"/>
            <pc:sldLayoutMk cId="1295405754" sldId="2147483656"/>
          </pc:sldLayoutMkLst>
        </pc:sldLayoutChg>
        <pc:sldLayoutChg chg="modSp">
          <pc:chgData name="Leiter, Tristan Kilian" userId="aff616bd-4ba4-4d5a-a6ae-24fbc901fafd" providerId="ADAL" clId="{D292643D-2054-4A69-9325-26675E8D7072}" dt="2025-11-14T20:24:55.717" v="33" actId="735"/>
          <pc:sldLayoutMkLst>
            <pc:docMk/>
            <pc:sldMasterMk cId="725776032" sldId="2147483648"/>
            <pc:sldLayoutMk cId="1776150982" sldId="2147483659"/>
          </pc:sldLayoutMkLst>
        </pc:sldLayoutChg>
      </pc:sldMasterChg>
      <pc:sldMasterChg chg="modSldLayout">
        <pc:chgData name="Leiter, Tristan Kilian" userId="aff616bd-4ba4-4d5a-a6ae-24fbc901fafd" providerId="ADAL" clId="{D292643D-2054-4A69-9325-26675E8D7072}" dt="2025-11-14T20:29:20.532" v="320" actId="108"/>
        <pc:sldMasterMkLst>
          <pc:docMk/>
          <pc:sldMasterMk cId="1874261132" sldId="2147483660"/>
        </pc:sldMasterMkLst>
        <pc:sldLayoutChg chg="addSp modSp mod">
          <pc:chgData name="Leiter, Tristan Kilian" userId="aff616bd-4ba4-4d5a-a6ae-24fbc901fafd" providerId="ADAL" clId="{D292643D-2054-4A69-9325-26675E8D7072}" dt="2025-11-14T20:28:15.478" v="301" actId="12789"/>
          <pc:sldLayoutMkLst>
            <pc:docMk/>
            <pc:sldMasterMk cId="1874261132" sldId="2147483660"/>
            <pc:sldLayoutMk cId="4143137159" sldId="2147483662"/>
          </pc:sldLayoutMkLst>
          <pc:spChg chg="add mod">
            <ac:chgData name="Leiter, Tristan Kilian" userId="aff616bd-4ba4-4d5a-a6ae-24fbc901fafd" providerId="ADAL" clId="{D292643D-2054-4A69-9325-26675E8D7072}" dt="2025-11-14T20:28:15.478" v="301" actId="12789"/>
            <ac:spMkLst>
              <pc:docMk/>
              <pc:sldMasterMk cId="1874261132" sldId="2147483660"/>
              <pc:sldLayoutMk cId="4143137159" sldId="2147483662"/>
              <ac:spMk id="2" creationId="{D45BA297-CA23-A858-C28E-7717AB5D4DDD}"/>
            </ac:spMkLst>
          </pc:spChg>
          <pc:spChg chg="add mod">
            <ac:chgData name="Leiter, Tristan Kilian" userId="aff616bd-4ba4-4d5a-a6ae-24fbc901fafd" providerId="ADAL" clId="{D292643D-2054-4A69-9325-26675E8D7072}" dt="2025-11-14T20:28:15.478" v="301" actId="12789"/>
            <ac:spMkLst>
              <pc:docMk/>
              <pc:sldMasterMk cId="1874261132" sldId="2147483660"/>
              <pc:sldLayoutMk cId="4143137159" sldId="2147483662"/>
              <ac:spMk id="6" creationId="{E4133362-6022-AE3D-E4E3-FC8F94104CE9}"/>
            </ac:spMkLst>
          </pc:spChg>
          <pc:spChg chg="mod">
            <ac:chgData name="Leiter, Tristan Kilian" userId="aff616bd-4ba4-4d5a-a6ae-24fbc901fafd" providerId="ADAL" clId="{D292643D-2054-4A69-9325-26675E8D7072}" dt="2025-11-14T20:28:15.478" v="301" actId="12789"/>
            <ac:spMkLst>
              <pc:docMk/>
              <pc:sldMasterMk cId="1874261132" sldId="2147483660"/>
              <pc:sldLayoutMk cId="4143137159" sldId="2147483662"/>
              <ac:spMk id="10" creationId="{5AC6CE27-E116-1B40-B083-752A6B3CFAE0}"/>
            </ac:spMkLst>
          </pc:spChg>
          <pc:spChg chg="mod">
            <ac:chgData name="Leiter, Tristan Kilian" userId="aff616bd-4ba4-4d5a-a6ae-24fbc901fafd" providerId="ADAL" clId="{D292643D-2054-4A69-9325-26675E8D7072}" dt="2025-11-14T20:28:15.478" v="301" actId="12789"/>
            <ac:spMkLst>
              <pc:docMk/>
              <pc:sldMasterMk cId="1874261132" sldId="2147483660"/>
              <pc:sldLayoutMk cId="4143137159" sldId="2147483662"/>
              <ac:spMk id="11" creationId="{EF80BD1A-C0FB-F24D-B091-6018B1D353EA}"/>
            </ac:spMkLst>
          </pc:spChg>
          <pc:spChg chg="mod">
            <ac:chgData name="Leiter, Tristan Kilian" userId="aff616bd-4ba4-4d5a-a6ae-24fbc901fafd" providerId="ADAL" clId="{D292643D-2054-4A69-9325-26675E8D7072}" dt="2025-11-14T20:28:15.478" v="301" actId="12789"/>
            <ac:spMkLst>
              <pc:docMk/>
              <pc:sldMasterMk cId="1874261132" sldId="2147483660"/>
              <pc:sldLayoutMk cId="4143137159" sldId="2147483662"/>
              <ac:spMk id="15" creationId="{9136C9A5-23D2-2D4E-BC8E-4F7A96AE0BFA}"/>
            </ac:spMkLst>
          </pc:spChg>
        </pc:sldLayoutChg>
        <pc:sldLayoutChg chg="addSp delSp modSp mod">
          <pc:chgData name="Leiter, Tristan Kilian" userId="aff616bd-4ba4-4d5a-a6ae-24fbc901fafd" providerId="ADAL" clId="{D292643D-2054-4A69-9325-26675E8D7072}" dt="2025-11-14T20:28:39.865" v="310" actId="108"/>
          <pc:sldLayoutMkLst>
            <pc:docMk/>
            <pc:sldMasterMk cId="1874261132" sldId="2147483660"/>
            <pc:sldLayoutMk cId="942574668" sldId="2147483663"/>
          </pc:sldLayoutMkLst>
          <pc:spChg chg="add mod">
            <ac:chgData name="Leiter, Tristan Kilian" userId="aff616bd-4ba4-4d5a-a6ae-24fbc901fafd" providerId="ADAL" clId="{D292643D-2054-4A69-9325-26675E8D7072}" dt="2025-11-14T20:28:25.606" v="306"/>
            <ac:spMkLst>
              <pc:docMk/>
              <pc:sldMasterMk cId="1874261132" sldId="2147483660"/>
              <pc:sldLayoutMk cId="942574668" sldId="2147483663"/>
              <ac:spMk id="2" creationId="{E57F50EF-76EF-71AE-33FE-CC053E270800}"/>
            </ac:spMkLst>
          </pc:spChg>
          <pc:spChg chg="add mod">
            <ac:chgData name="Leiter, Tristan Kilian" userId="aff616bd-4ba4-4d5a-a6ae-24fbc901fafd" providerId="ADAL" clId="{D292643D-2054-4A69-9325-26675E8D7072}" dt="2025-11-14T20:28:29.917" v="307" actId="108"/>
            <ac:spMkLst>
              <pc:docMk/>
              <pc:sldMasterMk cId="1874261132" sldId="2147483660"/>
              <pc:sldLayoutMk cId="942574668" sldId="2147483663"/>
              <ac:spMk id="3" creationId="{0E66432D-7BCE-F4A1-896C-77AF3D6DBAA9}"/>
            </ac:spMkLst>
          </pc:spChg>
          <pc:spChg chg="add mod">
            <ac:chgData name="Leiter, Tristan Kilian" userId="aff616bd-4ba4-4d5a-a6ae-24fbc901fafd" providerId="ADAL" clId="{D292643D-2054-4A69-9325-26675E8D7072}" dt="2025-11-14T20:28:25.606" v="306"/>
            <ac:spMkLst>
              <pc:docMk/>
              <pc:sldMasterMk cId="1874261132" sldId="2147483660"/>
              <pc:sldLayoutMk cId="942574668" sldId="2147483663"/>
              <ac:spMk id="5" creationId="{A3A3661F-C390-352A-3A67-B83EE2D1677F}"/>
            </ac:spMkLst>
          </pc:spChg>
          <pc:spChg chg="add mod">
            <ac:chgData name="Leiter, Tristan Kilian" userId="aff616bd-4ba4-4d5a-a6ae-24fbc901fafd" providerId="ADAL" clId="{D292643D-2054-4A69-9325-26675E8D7072}" dt="2025-11-14T20:28:39.865" v="310" actId="108"/>
            <ac:spMkLst>
              <pc:docMk/>
              <pc:sldMasterMk cId="1874261132" sldId="2147483660"/>
              <pc:sldLayoutMk cId="942574668" sldId="2147483663"/>
              <ac:spMk id="9" creationId="{B4A5D6C2-DBB6-FA86-F929-8A206BDFF524}"/>
            </ac:spMkLst>
          </pc:spChg>
          <pc:spChg chg="add mod">
            <ac:chgData name="Leiter, Tristan Kilian" userId="aff616bd-4ba4-4d5a-a6ae-24fbc901fafd" providerId="ADAL" clId="{D292643D-2054-4A69-9325-26675E8D7072}" dt="2025-11-14T20:28:25.606" v="306"/>
            <ac:spMkLst>
              <pc:docMk/>
              <pc:sldMasterMk cId="1874261132" sldId="2147483660"/>
              <pc:sldLayoutMk cId="942574668" sldId="2147483663"/>
              <ac:spMk id="10" creationId="{EDB0FDA3-4805-7862-289A-75703CB6A1D0}"/>
            </ac:spMkLst>
          </pc:spChg>
        </pc:sldLayoutChg>
        <pc:sldLayoutChg chg="addSp delSp modSp mod">
          <pc:chgData name="Leiter, Tristan Kilian" userId="aff616bd-4ba4-4d5a-a6ae-24fbc901fafd" providerId="ADAL" clId="{D292643D-2054-4A69-9325-26675E8D7072}" dt="2025-11-14T20:28:59.040" v="316" actId="108"/>
          <pc:sldLayoutMkLst>
            <pc:docMk/>
            <pc:sldMasterMk cId="1874261132" sldId="2147483660"/>
            <pc:sldLayoutMk cId="1392367858" sldId="2147483664"/>
          </pc:sldLayoutMkLst>
          <pc:spChg chg="add mod">
            <ac:chgData name="Leiter, Tristan Kilian" userId="aff616bd-4ba4-4d5a-a6ae-24fbc901fafd" providerId="ADAL" clId="{D292643D-2054-4A69-9325-26675E8D7072}" dt="2025-11-14T20:28:50.810" v="314"/>
            <ac:spMkLst>
              <pc:docMk/>
              <pc:sldMasterMk cId="1874261132" sldId="2147483660"/>
              <pc:sldLayoutMk cId="1392367858" sldId="2147483664"/>
              <ac:spMk id="2" creationId="{C2957653-11CC-5940-EC9C-5EAC281D9718}"/>
            </ac:spMkLst>
          </pc:spChg>
          <pc:spChg chg="add mod">
            <ac:chgData name="Leiter, Tristan Kilian" userId="aff616bd-4ba4-4d5a-a6ae-24fbc901fafd" providerId="ADAL" clId="{D292643D-2054-4A69-9325-26675E8D7072}" dt="2025-11-14T20:28:59.040" v="316" actId="108"/>
            <ac:spMkLst>
              <pc:docMk/>
              <pc:sldMasterMk cId="1874261132" sldId="2147483660"/>
              <pc:sldLayoutMk cId="1392367858" sldId="2147483664"/>
              <ac:spMk id="3" creationId="{33698C54-E72A-027F-7699-ACF7FB9DF129}"/>
            </ac:spMkLst>
          </pc:spChg>
          <pc:spChg chg="add mod">
            <ac:chgData name="Leiter, Tristan Kilian" userId="aff616bd-4ba4-4d5a-a6ae-24fbc901fafd" providerId="ADAL" clId="{D292643D-2054-4A69-9325-26675E8D7072}" dt="2025-11-14T20:28:50.810" v="314"/>
            <ac:spMkLst>
              <pc:docMk/>
              <pc:sldMasterMk cId="1874261132" sldId="2147483660"/>
              <pc:sldLayoutMk cId="1392367858" sldId="2147483664"/>
              <ac:spMk id="4" creationId="{AFE0AA9A-83C4-571D-02D2-74027AAC34DD}"/>
            </ac:spMkLst>
          </pc:spChg>
          <pc:spChg chg="add mod">
            <ac:chgData name="Leiter, Tristan Kilian" userId="aff616bd-4ba4-4d5a-a6ae-24fbc901fafd" providerId="ADAL" clId="{D292643D-2054-4A69-9325-26675E8D7072}" dt="2025-11-14T20:28:50.810" v="314"/>
            <ac:spMkLst>
              <pc:docMk/>
              <pc:sldMasterMk cId="1874261132" sldId="2147483660"/>
              <pc:sldLayoutMk cId="1392367858" sldId="2147483664"/>
              <ac:spMk id="5" creationId="{99F95A60-31B0-4D24-F09F-5B61458B5523}"/>
            </ac:spMkLst>
          </pc:spChg>
          <pc:spChg chg="add mod">
            <ac:chgData name="Leiter, Tristan Kilian" userId="aff616bd-4ba4-4d5a-a6ae-24fbc901fafd" providerId="ADAL" clId="{D292643D-2054-4A69-9325-26675E8D7072}" dt="2025-11-14T20:28:55.134" v="315" actId="108"/>
            <ac:spMkLst>
              <pc:docMk/>
              <pc:sldMasterMk cId="1874261132" sldId="2147483660"/>
              <pc:sldLayoutMk cId="1392367858" sldId="2147483664"/>
              <ac:spMk id="6" creationId="{D7E9860B-D827-F166-FEA9-3D84010F7D56}"/>
            </ac:spMkLst>
          </pc:spChg>
        </pc:sldLayoutChg>
        <pc:sldLayoutChg chg="modSp mod">
          <pc:chgData name="Leiter, Tristan Kilian" userId="aff616bd-4ba4-4d5a-a6ae-24fbc901fafd" providerId="ADAL" clId="{D292643D-2054-4A69-9325-26675E8D7072}" dt="2025-11-14T20:29:10.646" v="318" actId="108"/>
          <pc:sldLayoutMkLst>
            <pc:docMk/>
            <pc:sldMasterMk cId="1874261132" sldId="2147483660"/>
            <pc:sldLayoutMk cId="4124126429" sldId="2147483670"/>
          </pc:sldLayoutMkLst>
          <pc:spChg chg="mod">
            <ac:chgData name="Leiter, Tristan Kilian" userId="aff616bd-4ba4-4d5a-a6ae-24fbc901fafd" providerId="ADAL" clId="{D292643D-2054-4A69-9325-26675E8D7072}" dt="2025-11-14T20:29:06.965" v="317" actId="108"/>
            <ac:spMkLst>
              <pc:docMk/>
              <pc:sldMasterMk cId="1874261132" sldId="2147483660"/>
              <pc:sldLayoutMk cId="4124126429" sldId="2147483670"/>
              <ac:spMk id="4" creationId="{AFE0AA9A-83C4-571D-02D2-74027AAC34DD}"/>
            </ac:spMkLst>
          </pc:spChg>
          <pc:spChg chg="mod">
            <ac:chgData name="Leiter, Tristan Kilian" userId="aff616bd-4ba4-4d5a-a6ae-24fbc901fafd" providerId="ADAL" clId="{D292643D-2054-4A69-9325-26675E8D7072}" dt="2025-11-14T20:29:10.646" v="318" actId="108"/>
            <ac:spMkLst>
              <pc:docMk/>
              <pc:sldMasterMk cId="1874261132" sldId="2147483660"/>
              <pc:sldLayoutMk cId="4124126429" sldId="2147483670"/>
              <ac:spMk id="6" creationId="{D7E9860B-D827-F166-FEA9-3D84010F7D56}"/>
            </ac:spMkLst>
          </pc:spChg>
        </pc:sldLayoutChg>
        <pc:sldLayoutChg chg="modSp mod">
          <pc:chgData name="Leiter, Tristan Kilian" userId="aff616bd-4ba4-4d5a-a6ae-24fbc901fafd" providerId="ADAL" clId="{D292643D-2054-4A69-9325-26675E8D7072}" dt="2025-11-14T20:29:20.532" v="320" actId="108"/>
          <pc:sldLayoutMkLst>
            <pc:docMk/>
            <pc:sldMasterMk cId="1874261132" sldId="2147483660"/>
            <pc:sldLayoutMk cId="1358174008" sldId="2147483671"/>
          </pc:sldLayoutMkLst>
          <pc:spChg chg="mod">
            <ac:chgData name="Leiter, Tristan Kilian" userId="aff616bd-4ba4-4d5a-a6ae-24fbc901fafd" providerId="ADAL" clId="{D292643D-2054-4A69-9325-26675E8D7072}" dt="2025-11-14T20:29:16.522" v="319" actId="108"/>
            <ac:spMkLst>
              <pc:docMk/>
              <pc:sldMasterMk cId="1874261132" sldId="2147483660"/>
              <pc:sldLayoutMk cId="1358174008" sldId="2147483671"/>
              <ac:spMk id="2" creationId="{C2957653-11CC-5940-EC9C-5EAC281D9718}"/>
            </ac:spMkLst>
          </pc:spChg>
          <pc:spChg chg="mod">
            <ac:chgData name="Leiter, Tristan Kilian" userId="aff616bd-4ba4-4d5a-a6ae-24fbc901fafd" providerId="ADAL" clId="{D292643D-2054-4A69-9325-26675E8D7072}" dt="2025-11-14T20:29:20.532" v="320" actId="108"/>
            <ac:spMkLst>
              <pc:docMk/>
              <pc:sldMasterMk cId="1874261132" sldId="2147483660"/>
              <pc:sldLayoutMk cId="1358174008" sldId="2147483671"/>
              <ac:spMk id="4" creationId="{AFE0AA9A-83C4-571D-02D2-74027AAC34DD}"/>
            </ac:spMkLst>
          </pc:spChg>
        </pc:sldLayoutChg>
      </pc:sldMasterChg>
    </pc:docChg>
  </pc:docChgLst>
  <pc:docChgLst>
    <pc:chgData name="Iepure, Giulio-Robert" userId="67277953-3767-40ff-8a1a-02d47f4f8f7f" providerId="ADAL" clId="{059C56E9-D8A9-5C3D-A13C-05BE381C40C2}"/>
    <pc:docChg chg="custSel modSld">
      <pc:chgData name="Iepure, Giulio-Robert" userId="67277953-3767-40ff-8a1a-02d47f4f8f7f" providerId="ADAL" clId="{059C56E9-D8A9-5C3D-A13C-05BE381C40C2}" dt="2025-11-16T20:36:46.569" v="69" actId="33524"/>
      <pc:docMkLst>
        <pc:docMk/>
      </pc:docMkLst>
      <pc:sldChg chg="modSp mod">
        <pc:chgData name="Iepure, Giulio-Robert" userId="67277953-3767-40ff-8a1a-02d47f4f8f7f" providerId="ADAL" clId="{059C56E9-D8A9-5C3D-A13C-05BE381C40C2}" dt="2025-11-16T11:32:27.163" v="68" actId="20577"/>
        <pc:sldMkLst>
          <pc:docMk/>
          <pc:sldMk cId="1672210218" sldId="3453"/>
        </pc:sldMkLst>
        <pc:spChg chg="mod">
          <ac:chgData name="Iepure, Giulio-Robert" userId="67277953-3767-40ff-8a1a-02d47f4f8f7f" providerId="ADAL" clId="{059C56E9-D8A9-5C3D-A13C-05BE381C40C2}" dt="2025-11-16T11:32:27.163" v="68" actId="20577"/>
          <ac:spMkLst>
            <pc:docMk/>
            <pc:sldMk cId="1672210218" sldId="3453"/>
            <ac:spMk id="6" creationId="{68C847F1-C061-9F8F-8957-8C370FCD826E}"/>
          </ac:spMkLst>
        </pc:spChg>
      </pc:sldChg>
      <pc:sldChg chg="modNotesTx">
        <pc:chgData name="Iepure, Giulio-Robert" userId="67277953-3767-40ff-8a1a-02d47f4f8f7f" providerId="ADAL" clId="{059C56E9-D8A9-5C3D-A13C-05BE381C40C2}" dt="2025-11-16T11:31:42.875" v="67" actId="20577"/>
        <pc:sldMkLst>
          <pc:docMk/>
          <pc:sldMk cId="3155094780" sldId="3528"/>
        </pc:sldMkLst>
      </pc:sldChg>
      <pc:sldChg chg="modSp mod">
        <pc:chgData name="Iepure, Giulio-Robert" userId="67277953-3767-40ff-8a1a-02d47f4f8f7f" providerId="ADAL" clId="{059C56E9-D8A9-5C3D-A13C-05BE381C40C2}" dt="2025-11-16T20:36:46.569" v="69" actId="33524"/>
        <pc:sldMkLst>
          <pc:docMk/>
          <pc:sldMk cId="3396985165" sldId="3552"/>
        </pc:sldMkLst>
        <pc:spChg chg="mod">
          <ac:chgData name="Iepure, Giulio-Robert" userId="67277953-3767-40ff-8a1a-02d47f4f8f7f" providerId="ADAL" clId="{059C56E9-D8A9-5C3D-A13C-05BE381C40C2}" dt="2025-11-16T20:36:46.569" v="69" actId="33524"/>
          <ac:spMkLst>
            <pc:docMk/>
            <pc:sldMk cId="3396985165" sldId="3552"/>
            <ac:spMk id="20" creationId="{54000707-CA5C-BE1B-6BD9-D2CCBB5EFA9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FA0AB4-01FF-448F-B84B-891E58012358}" type="datetimeFigureOut">
              <a:rPr lang="de-CH" smtClean="0"/>
              <a:t>18.1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F72F3E-7E2F-46C4-A1D3-F71C3D5CB6D7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11260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A3B1D7-79F0-40D6-A314-F8CC7725E1AF}" type="slidenum">
              <a:rPr lang="hu-HU" smtClean="0"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55112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Lasso: </a:t>
            </a:r>
            <a:r>
              <a:rPr lang="de-CH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277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/>
              <a:t>Ridge: </a:t>
            </a:r>
            <a:r>
              <a:rPr lang="de-CH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2767</a:t>
            </a:r>
          </a:p>
          <a:p>
            <a:endParaRPr lang="de-CH"/>
          </a:p>
          <a:p>
            <a:r>
              <a:rPr lang="de-CH"/>
              <a:t>-&gt; Poor </a:t>
            </a:r>
            <a:r>
              <a:rPr lang="de-CH" err="1"/>
              <a:t>balance</a:t>
            </a:r>
            <a:r>
              <a:rPr lang="de-CH"/>
              <a:t> </a:t>
            </a:r>
            <a:r>
              <a:rPr lang="de-CH" err="1"/>
              <a:t>of</a:t>
            </a:r>
            <a:r>
              <a:rPr lang="de-CH"/>
              <a:t> </a:t>
            </a:r>
            <a:r>
              <a:rPr lang="de-CH" err="1"/>
              <a:t>both</a:t>
            </a:r>
            <a:r>
              <a:rPr lang="de-CH"/>
              <a:t> </a:t>
            </a:r>
            <a:r>
              <a:rPr lang="de-CH" err="1"/>
              <a:t>precision</a:t>
            </a:r>
            <a:r>
              <a:rPr lang="de-CH"/>
              <a:t> and </a:t>
            </a:r>
            <a:r>
              <a:rPr lang="de-CH" err="1"/>
              <a:t>recall</a:t>
            </a:r>
            <a:r>
              <a:rPr lang="de-CH"/>
              <a:t> </a:t>
            </a:r>
            <a:r>
              <a:rPr lang="de-CH" err="1"/>
              <a:t>across</a:t>
            </a:r>
            <a:r>
              <a:rPr lang="de-CH"/>
              <a:t> different </a:t>
            </a:r>
            <a:r>
              <a:rPr lang="de-CH" err="1"/>
              <a:t>quality</a:t>
            </a:r>
            <a:r>
              <a:rPr lang="de-CH"/>
              <a:t> </a:t>
            </a:r>
            <a:r>
              <a:rPr lang="de-CH" err="1"/>
              <a:t>levels</a:t>
            </a:r>
            <a:r>
              <a:rPr lang="de-CH"/>
              <a:t>. </a:t>
            </a:r>
            <a:r>
              <a:rPr lang="de-CH" err="1"/>
              <a:t>Probably</a:t>
            </a:r>
            <a:r>
              <a:rPr lang="de-CH"/>
              <a:t> due to non-</a:t>
            </a:r>
            <a:r>
              <a:rPr lang="de-CH" err="1"/>
              <a:t>normality</a:t>
            </a:r>
            <a:r>
              <a:rPr lang="de-CH"/>
              <a:t> and a high-</a:t>
            </a:r>
            <a:r>
              <a:rPr lang="de-CH" err="1"/>
              <a:t>confusion</a:t>
            </a:r>
            <a:r>
              <a:rPr lang="de-CH"/>
              <a:t> </a:t>
            </a:r>
            <a:r>
              <a:rPr lang="de-CH" err="1"/>
              <a:t>between</a:t>
            </a:r>
            <a:r>
              <a:rPr lang="de-CH"/>
              <a:t> </a:t>
            </a:r>
            <a:r>
              <a:rPr lang="de-CH" err="1"/>
              <a:t>adjacent</a:t>
            </a:r>
            <a:r>
              <a:rPr lang="de-CH"/>
              <a:t> </a:t>
            </a:r>
            <a:r>
              <a:rPr lang="de-CH" err="1"/>
              <a:t>classes</a:t>
            </a:r>
            <a:r>
              <a:rPr lang="de-CH"/>
              <a:t> (</a:t>
            </a:r>
            <a:r>
              <a:rPr lang="de-CH" err="1"/>
              <a:t>differences</a:t>
            </a:r>
            <a:r>
              <a:rPr lang="de-CH"/>
              <a:t>, like </a:t>
            </a:r>
            <a:r>
              <a:rPr lang="de-CH" err="1"/>
              <a:t>chemical</a:t>
            </a:r>
            <a:r>
              <a:rPr lang="de-CH"/>
              <a:t> </a:t>
            </a:r>
            <a:r>
              <a:rPr lang="de-CH" err="1"/>
              <a:t>differences</a:t>
            </a:r>
            <a:r>
              <a:rPr lang="de-CH"/>
              <a:t>, </a:t>
            </a:r>
            <a:r>
              <a:rPr lang="de-CH" err="1"/>
              <a:t>between</a:t>
            </a:r>
            <a:r>
              <a:rPr lang="de-CH"/>
              <a:t> a </a:t>
            </a:r>
            <a:r>
              <a:rPr lang="de-CH" err="1"/>
              <a:t>quality</a:t>
            </a:r>
            <a:r>
              <a:rPr lang="de-CH"/>
              <a:t> score </a:t>
            </a:r>
            <a:r>
              <a:rPr lang="de-CH" err="1"/>
              <a:t>of</a:t>
            </a:r>
            <a:r>
              <a:rPr lang="de-CH"/>
              <a:t> 5 and 6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likely</a:t>
            </a:r>
            <a:r>
              <a:rPr lang="de-CH"/>
              <a:t> </a:t>
            </a:r>
            <a:r>
              <a:rPr lang="de-CH" err="1"/>
              <a:t>subtle</a:t>
            </a:r>
            <a:r>
              <a:rPr lang="de-CH"/>
              <a:t>. Linear </a:t>
            </a:r>
            <a:r>
              <a:rPr lang="de-CH" err="1"/>
              <a:t>model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not </a:t>
            </a:r>
            <a:r>
              <a:rPr lang="de-CH" err="1"/>
              <a:t>complex</a:t>
            </a:r>
            <a:r>
              <a:rPr lang="de-CH"/>
              <a:t> </a:t>
            </a:r>
            <a:r>
              <a:rPr lang="de-CH" err="1"/>
              <a:t>enough</a:t>
            </a:r>
            <a:r>
              <a:rPr lang="de-CH"/>
              <a:t> to </a:t>
            </a:r>
            <a:r>
              <a:rPr lang="de-CH" err="1"/>
              <a:t>detect</a:t>
            </a:r>
            <a:r>
              <a:rPr lang="de-CH"/>
              <a:t> </a:t>
            </a:r>
            <a:r>
              <a:rPr lang="de-CH" err="1"/>
              <a:t>those</a:t>
            </a:r>
            <a:r>
              <a:rPr lang="de-CH"/>
              <a:t> </a:t>
            </a:r>
            <a:r>
              <a:rPr lang="de-CH" err="1"/>
              <a:t>desitinctions</a:t>
            </a:r>
            <a:r>
              <a:rPr lang="de-CH"/>
              <a:t> and </a:t>
            </a:r>
            <a:r>
              <a:rPr lang="de-CH" err="1"/>
              <a:t>missclassifies</a:t>
            </a:r>
            <a:r>
              <a:rPr lang="de-CH"/>
              <a:t>). But, still </a:t>
            </a:r>
            <a:r>
              <a:rPr lang="de-CH" err="1"/>
              <a:t>useful</a:t>
            </a:r>
            <a:r>
              <a:rPr lang="de-CH"/>
              <a:t> </a:t>
            </a:r>
            <a:r>
              <a:rPr lang="de-CH" err="1"/>
              <a:t>as</a:t>
            </a:r>
            <a:r>
              <a:rPr lang="de-CH"/>
              <a:t> a </a:t>
            </a:r>
            <a:r>
              <a:rPr lang="de-CH" err="1"/>
              <a:t>baseline</a:t>
            </a:r>
            <a:r>
              <a:rPr lang="de-CH"/>
              <a:t> </a:t>
            </a:r>
            <a:r>
              <a:rPr lang="de-CH" err="1"/>
              <a:t>performance</a:t>
            </a:r>
            <a:r>
              <a:rPr lang="de-CH"/>
              <a:t> </a:t>
            </a:r>
            <a:r>
              <a:rPr lang="de-CH" err="1"/>
              <a:t>indicators</a:t>
            </a:r>
            <a:r>
              <a:rPr lang="de-CH"/>
              <a:t>.</a:t>
            </a:r>
          </a:p>
          <a:p>
            <a:r>
              <a:rPr lang="de-CH"/>
              <a:t>The </a:t>
            </a:r>
            <a:r>
              <a:rPr lang="de-CH" err="1"/>
              <a:t>poor</a:t>
            </a:r>
            <a:r>
              <a:rPr lang="de-CH"/>
              <a:t> </a:t>
            </a:r>
            <a:r>
              <a:rPr lang="de-CH" err="1"/>
              <a:t>performance</a:t>
            </a:r>
            <a:r>
              <a:rPr lang="de-CH"/>
              <a:t> </a:t>
            </a:r>
            <a:r>
              <a:rPr lang="de-CH" err="1"/>
              <a:t>of</a:t>
            </a:r>
            <a:r>
              <a:rPr lang="de-CH"/>
              <a:t> Lasso &amp; Ridge </a:t>
            </a:r>
            <a:r>
              <a:rPr lang="de-CH" err="1"/>
              <a:t>compared</a:t>
            </a:r>
            <a:r>
              <a:rPr lang="de-CH"/>
              <a:t> to </a:t>
            </a:r>
            <a:r>
              <a:rPr lang="de-CH" err="1"/>
              <a:t>decision</a:t>
            </a:r>
            <a:r>
              <a:rPr lang="de-CH"/>
              <a:t> </a:t>
            </a:r>
            <a:r>
              <a:rPr lang="de-CH" err="1"/>
              <a:t>tree’s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also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reason</a:t>
            </a:r>
            <a:r>
              <a:rPr lang="de-CH"/>
              <a:t> </a:t>
            </a:r>
            <a:r>
              <a:rPr lang="de-CH" err="1"/>
              <a:t>why</a:t>
            </a:r>
            <a:r>
              <a:rPr lang="de-CH"/>
              <a:t> </a:t>
            </a:r>
            <a:r>
              <a:rPr lang="de-CH" err="1"/>
              <a:t>we</a:t>
            </a:r>
            <a:r>
              <a:rPr lang="de-CH"/>
              <a:t> </a:t>
            </a:r>
            <a:r>
              <a:rPr lang="de-CH" err="1"/>
              <a:t>did</a:t>
            </a:r>
            <a:r>
              <a:rPr lang="de-CH"/>
              <a:t> not </a:t>
            </a:r>
            <a:r>
              <a:rPr lang="de-CH" err="1"/>
              <a:t>try</a:t>
            </a:r>
            <a:r>
              <a:rPr lang="de-CH"/>
              <a:t> </a:t>
            </a:r>
            <a:r>
              <a:rPr lang="de-CH" err="1"/>
              <a:t>elastic</a:t>
            </a:r>
            <a:r>
              <a:rPr lang="de-CH"/>
              <a:t> </a:t>
            </a:r>
            <a:r>
              <a:rPr lang="de-CH" err="1"/>
              <a:t>net</a:t>
            </a:r>
            <a:r>
              <a:rPr lang="de-CH"/>
              <a:t>.</a:t>
            </a:r>
          </a:p>
          <a:p>
            <a:endParaRPr lang="de-CH"/>
          </a:p>
          <a:p>
            <a:r>
              <a:rPr lang="de-CH"/>
              <a:t>RF: </a:t>
            </a:r>
          </a:p>
          <a:p>
            <a:endParaRPr lang="de-CH"/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F72F3E-7E2F-46C4-A1D3-F71C3D5CB6D7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6685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F72F3E-7E2F-46C4-A1D3-F71C3D5CB6D7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56266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et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quality</a:t>
            </a:r>
            <a:r>
              <a:rPr lang="de-DE"/>
              <a:t> </a:t>
            </a:r>
            <a:r>
              <a:rPr lang="de-DE" err="1"/>
              <a:t>greater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equal</a:t>
            </a:r>
            <a:r>
              <a:rPr lang="de-DE"/>
              <a:t> to 6 </a:t>
            </a:r>
            <a:r>
              <a:rPr lang="de-DE" err="1"/>
              <a:t>is</a:t>
            </a:r>
            <a:r>
              <a:rPr lang="de-DE"/>
              <a:t> 1, all </a:t>
            </a:r>
            <a:r>
              <a:rPr lang="de-DE" err="1"/>
              <a:t>other‘s</a:t>
            </a:r>
            <a:r>
              <a:rPr lang="de-DE"/>
              <a:t> </a:t>
            </a:r>
            <a:r>
              <a:rPr lang="de-DE" err="1"/>
              <a:t>equal</a:t>
            </a:r>
            <a:r>
              <a:rPr lang="de-DE"/>
              <a:t> to 0. Method </a:t>
            </a:r>
            <a:r>
              <a:rPr lang="de-DE" err="1"/>
              <a:t>used</a:t>
            </a:r>
            <a:r>
              <a:rPr lang="de-DE"/>
              <a:t> was Mean </a:t>
            </a:r>
            <a:r>
              <a:rPr lang="de-DE" err="1"/>
              <a:t>Decrease</a:t>
            </a:r>
            <a:r>
              <a:rPr lang="de-DE"/>
              <a:t> </a:t>
            </a:r>
            <a:r>
              <a:rPr lang="de-DE" err="1"/>
              <a:t>Accuracy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Random Forest 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F72F3E-7E2F-46C4-A1D3-F71C3D5CB6D7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2115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CE47DE-1CBE-06BF-6817-CA560F974B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C4904BC-DC87-D833-9A01-142D6E1574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F41B734-252B-AD51-1820-F98694F0AA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et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quality</a:t>
            </a:r>
            <a:r>
              <a:rPr lang="de-DE"/>
              <a:t> </a:t>
            </a:r>
            <a:r>
              <a:rPr lang="de-DE" err="1"/>
              <a:t>greater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equal</a:t>
            </a:r>
            <a:r>
              <a:rPr lang="de-DE"/>
              <a:t> to 6 </a:t>
            </a:r>
            <a:r>
              <a:rPr lang="de-DE" err="1"/>
              <a:t>is</a:t>
            </a:r>
            <a:r>
              <a:rPr lang="de-DE"/>
              <a:t> 1, all </a:t>
            </a:r>
            <a:r>
              <a:rPr lang="de-DE" err="1"/>
              <a:t>other‘s</a:t>
            </a:r>
            <a:r>
              <a:rPr lang="de-DE"/>
              <a:t> </a:t>
            </a:r>
            <a:r>
              <a:rPr lang="de-DE" err="1"/>
              <a:t>equal</a:t>
            </a:r>
            <a:r>
              <a:rPr lang="de-DE"/>
              <a:t> to 0.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F38D28-AE72-822E-B447-3522BE36A0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F72F3E-7E2F-46C4-A1D3-F71C3D5CB6D7}" type="slidenum">
              <a:rPr lang="de-CH" smtClean="0"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2130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C3669D-ADFE-7735-0691-931AF428DE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90A9B7-7172-C924-8A3D-758732C05F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8AD3F3-DE50-5911-86A6-9E26C62DD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75BE43-D62B-18CC-8E30-F3F9F1A86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1162A-5C9D-E81A-EC28-7E2BD0527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104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8CE0F-D886-0B31-F415-5FAD5A671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75D767-1F3C-E7DF-745C-20D32F0ED5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BB71B9-FBAA-76CE-DC59-51AACA701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7CE56-D87E-F422-7588-8E9E4D671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77DCBB-A573-9392-65BA-A5A593018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2401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1F0DCB4-789F-480D-73AC-C64410E867B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E2D85C-AAB7-9903-F74F-9AEE09250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43CA6A-B66A-3143-1C78-122D4BF4F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238E5F-D548-AB3A-CB57-BA4A792FF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438072-A57A-8FF3-041E-F85A5D3C1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6150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6345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8838DC-06E1-1153-A30E-90E0EDBD3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261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8838DC-06E1-1153-A30E-90E0EDBD3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zöveg helye 2">
            <a:extLst>
              <a:ext uri="{FF2B5EF4-FFF2-40B4-BE49-F238E27FC236}">
                <a16:creationId xmlns:a16="http://schemas.microsoft.com/office/drawing/2014/main" id="{C0D3D432-2E44-C142-ABD2-BDF76D6F55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96" y="0"/>
            <a:ext cx="11066184" cy="441417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lang="en-GB" sz="1800" b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Task #</a:t>
            </a:r>
          </a:p>
        </p:txBody>
      </p:sp>
      <p:sp>
        <p:nvSpPr>
          <p:cNvPr id="14" name="Szövegdoboz 8">
            <a:extLst>
              <a:ext uri="{FF2B5EF4-FFF2-40B4-BE49-F238E27FC236}">
                <a16:creationId xmlns:a16="http://schemas.microsoft.com/office/drawing/2014/main" id="{56AF44A3-836A-442E-9C39-2A2D1905E9D4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fld id="{3C193CD2-EB5E-4946-8C5C-F7B26690B716}" type="slidenum">
              <a:rPr lang="en-US" sz="1200" b="1" noProof="0" smtClean="0">
                <a:solidFill>
                  <a:schemeClr val="bg1">
                    <a:lumMod val="65000"/>
                  </a:schemeClr>
                </a:solidFill>
                <a:latin typeface="Google Sans Text"/>
              </a:rPr>
              <a:pPr algn="r" rtl="0"/>
              <a:t>‹#›</a:t>
            </a:fld>
            <a:endParaRPr lang="en-US" sz="1200" b="1" noProof="0">
              <a:solidFill>
                <a:schemeClr val="bg1">
                  <a:lumMod val="65000"/>
                </a:schemeClr>
              </a:solidFill>
              <a:latin typeface="Google Sans Text"/>
            </a:endParaRPr>
          </a:p>
        </p:txBody>
      </p:sp>
      <p:sp>
        <p:nvSpPr>
          <p:cNvPr id="10" name="Szövegdoboz 42">
            <a:extLst>
              <a:ext uri="{FF2B5EF4-FFF2-40B4-BE49-F238E27FC236}">
                <a16:creationId xmlns:a16="http://schemas.microsoft.com/office/drawing/2014/main" id="{5AC6CE27-E116-1B40-B083-752A6B3CFAE0}"/>
              </a:ext>
            </a:extLst>
          </p:cNvPr>
          <p:cNvSpPr txBox="1"/>
          <p:nvPr userDrawn="1"/>
        </p:nvSpPr>
        <p:spPr>
          <a:xfrm>
            <a:off x="890149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b="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inal Model</a:t>
            </a:r>
          </a:p>
        </p:txBody>
      </p:sp>
      <p:sp>
        <p:nvSpPr>
          <p:cNvPr id="11" name="Szövegdoboz 26">
            <a:extLst>
              <a:ext uri="{FF2B5EF4-FFF2-40B4-BE49-F238E27FC236}">
                <a16:creationId xmlns:a16="http://schemas.microsoft.com/office/drawing/2014/main" id="{EF80BD1A-C0FB-F24D-B091-6018B1D353EA}"/>
              </a:ext>
            </a:extLst>
          </p:cNvPr>
          <p:cNvSpPr txBox="1"/>
          <p:nvPr userDrawn="1"/>
        </p:nvSpPr>
        <p:spPr>
          <a:xfrm>
            <a:off x="284475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Data Exploration</a:t>
            </a:r>
          </a:p>
        </p:txBody>
      </p:sp>
      <p:sp>
        <p:nvSpPr>
          <p:cNvPr id="15" name="Szövegdoboz 27">
            <a:extLst>
              <a:ext uri="{FF2B5EF4-FFF2-40B4-BE49-F238E27FC236}">
                <a16:creationId xmlns:a16="http://schemas.microsoft.com/office/drawing/2014/main" id="{9136C9A5-23D2-2D4E-BC8E-4F7A96AE0BFA}"/>
              </a:ext>
            </a:extLst>
          </p:cNvPr>
          <p:cNvSpPr txBox="1"/>
          <p:nvPr userDrawn="1"/>
        </p:nvSpPr>
        <p:spPr>
          <a:xfrm>
            <a:off x="690171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noProof="0">
                <a:latin typeface="Google Sans Text"/>
              </a:rPr>
              <a:t>Model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FE044F8-DED4-4949-A15C-64DB9ECF6E05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zöveg helye 2">
            <a:extLst>
              <a:ext uri="{FF2B5EF4-FFF2-40B4-BE49-F238E27FC236}">
                <a16:creationId xmlns:a16="http://schemas.microsoft.com/office/drawing/2014/main" id="{39E1E35D-4142-2B59-D9FE-8988D0ECEB2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56196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lang="en-GB" sz="1600" i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Part of the task</a:t>
            </a:r>
          </a:p>
        </p:txBody>
      </p:sp>
      <p:sp>
        <p:nvSpPr>
          <p:cNvPr id="2" name="Szövegdoboz 26">
            <a:extLst>
              <a:ext uri="{FF2B5EF4-FFF2-40B4-BE49-F238E27FC236}">
                <a16:creationId xmlns:a16="http://schemas.microsoft.com/office/drawing/2014/main" id="{D45BA297-CA23-A858-C28E-7717AB5D4DDD}"/>
              </a:ext>
            </a:extLst>
          </p:cNvPr>
          <p:cNvSpPr txBox="1"/>
          <p:nvPr userDrawn="1"/>
        </p:nvSpPr>
        <p:spPr>
          <a:xfrm>
            <a:off x="744273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b="1" noProof="0">
                <a:solidFill>
                  <a:schemeClr val="tx1"/>
                </a:solidFill>
                <a:latin typeface="Google Sans Text"/>
              </a:rPr>
              <a:t>Motivation</a:t>
            </a:r>
          </a:p>
        </p:txBody>
      </p:sp>
      <p:sp>
        <p:nvSpPr>
          <p:cNvPr id="6" name="Szövegdoboz 26">
            <a:extLst>
              <a:ext uri="{FF2B5EF4-FFF2-40B4-BE49-F238E27FC236}">
                <a16:creationId xmlns:a16="http://schemas.microsoft.com/office/drawing/2014/main" id="{E4133362-6022-AE3D-E4E3-FC8F94104CE9}"/>
              </a:ext>
            </a:extLst>
          </p:cNvPr>
          <p:cNvSpPr txBox="1"/>
          <p:nvPr userDrawn="1"/>
        </p:nvSpPr>
        <p:spPr>
          <a:xfrm>
            <a:off x="491698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eature selection</a:t>
            </a:r>
          </a:p>
        </p:txBody>
      </p:sp>
    </p:spTree>
    <p:extLst>
      <p:ext uri="{BB962C8B-B14F-4D97-AF65-F5344CB8AC3E}">
        <p14:creationId xmlns:p14="http://schemas.microsoft.com/office/powerpoint/2010/main" val="4143137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8">
            <a:extLst>
              <a:ext uri="{FF2B5EF4-FFF2-40B4-BE49-F238E27FC236}">
                <a16:creationId xmlns:a16="http://schemas.microsoft.com/office/drawing/2014/main" id="{604D47B1-A550-D6AA-A1FA-FFF77E4C3700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fld id="{3C193CD2-EB5E-4946-8C5C-F7B26690B716}" type="slidenum">
              <a:rPr lang="en-US" sz="1200" b="1" noProof="0" smtClean="0">
                <a:solidFill>
                  <a:schemeClr val="bg1">
                    <a:lumMod val="65000"/>
                  </a:schemeClr>
                </a:solidFill>
                <a:latin typeface="Google Sans Text"/>
              </a:rPr>
              <a:pPr algn="r" rtl="0"/>
              <a:t>‹#›</a:t>
            </a:fld>
            <a:endParaRPr lang="en-US" sz="1200" b="1" noProof="0">
              <a:solidFill>
                <a:schemeClr val="bg1">
                  <a:lumMod val="65000"/>
                </a:schemeClr>
              </a:solidFill>
              <a:latin typeface="Google Sans Text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44D79FC-A29E-1949-EF26-E9AFB5F888B0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2AA14151-8C29-EAF8-D6B2-B684FB6EB6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96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lang="en-GB" sz="1600" i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Part of the task</a:t>
            </a: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EE485DBB-5909-FBC4-6988-396C1C8C70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96" y="0"/>
            <a:ext cx="11066184" cy="441417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lang="en-GB" sz="1800" b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Task #</a:t>
            </a:r>
          </a:p>
        </p:txBody>
      </p:sp>
      <p:sp>
        <p:nvSpPr>
          <p:cNvPr id="2" name="Szövegdoboz 42">
            <a:extLst>
              <a:ext uri="{FF2B5EF4-FFF2-40B4-BE49-F238E27FC236}">
                <a16:creationId xmlns:a16="http://schemas.microsoft.com/office/drawing/2014/main" id="{E57F50EF-76EF-71AE-33FE-CC053E270800}"/>
              </a:ext>
            </a:extLst>
          </p:cNvPr>
          <p:cNvSpPr txBox="1"/>
          <p:nvPr userDrawn="1"/>
        </p:nvSpPr>
        <p:spPr>
          <a:xfrm>
            <a:off x="890149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b="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inal Model</a:t>
            </a:r>
          </a:p>
        </p:txBody>
      </p:sp>
      <p:sp>
        <p:nvSpPr>
          <p:cNvPr id="3" name="Szövegdoboz 26">
            <a:extLst>
              <a:ext uri="{FF2B5EF4-FFF2-40B4-BE49-F238E27FC236}">
                <a16:creationId xmlns:a16="http://schemas.microsoft.com/office/drawing/2014/main" id="{0E66432D-7BCE-F4A1-896C-77AF3D6DBAA9}"/>
              </a:ext>
            </a:extLst>
          </p:cNvPr>
          <p:cNvSpPr txBox="1"/>
          <p:nvPr userDrawn="1"/>
        </p:nvSpPr>
        <p:spPr>
          <a:xfrm>
            <a:off x="284475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1" i="0" kern="1200" noProof="0">
                <a:solidFill>
                  <a:schemeClr val="tx1"/>
                </a:solidFill>
                <a:latin typeface="Google Sans Text"/>
              </a:rPr>
              <a:t>Data Exploration</a:t>
            </a:r>
          </a:p>
        </p:txBody>
      </p:sp>
      <p:sp>
        <p:nvSpPr>
          <p:cNvPr id="5" name="Szövegdoboz 27">
            <a:extLst>
              <a:ext uri="{FF2B5EF4-FFF2-40B4-BE49-F238E27FC236}">
                <a16:creationId xmlns:a16="http://schemas.microsoft.com/office/drawing/2014/main" id="{A3A3661F-C390-352A-3A67-B83EE2D1677F}"/>
              </a:ext>
            </a:extLst>
          </p:cNvPr>
          <p:cNvSpPr txBox="1"/>
          <p:nvPr userDrawn="1"/>
        </p:nvSpPr>
        <p:spPr>
          <a:xfrm>
            <a:off x="690171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noProof="0">
                <a:latin typeface="Google Sans Text"/>
              </a:rPr>
              <a:t>Modeling</a:t>
            </a:r>
          </a:p>
        </p:txBody>
      </p:sp>
      <p:sp>
        <p:nvSpPr>
          <p:cNvPr id="9" name="Szövegdoboz 26">
            <a:extLst>
              <a:ext uri="{FF2B5EF4-FFF2-40B4-BE49-F238E27FC236}">
                <a16:creationId xmlns:a16="http://schemas.microsoft.com/office/drawing/2014/main" id="{B4A5D6C2-DBB6-FA86-F929-8A206BDFF524}"/>
              </a:ext>
            </a:extLst>
          </p:cNvPr>
          <p:cNvSpPr txBox="1"/>
          <p:nvPr userDrawn="1"/>
        </p:nvSpPr>
        <p:spPr>
          <a:xfrm>
            <a:off x="744273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Motivation</a:t>
            </a:r>
          </a:p>
        </p:txBody>
      </p:sp>
      <p:sp>
        <p:nvSpPr>
          <p:cNvPr id="10" name="Szövegdoboz 26">
            <a:extLst>
              <a:ext uri="{FF2B5EF4-FFF2-40B4-BE49-F238E27FC236}">
                <a16:creationId xmlns:a16="http://schemas.microsoft.com/office/drawing/2014/main" id="{EDB0FDA3-4805-7862-289A-75703CB6A1D0}"/>
              </a:ext>
            </a:extLst>
          </p:cNvPr>
          <p:cNvSpPr txBox="1"/>
          <p:nvPr userDrawn="1"/>
        </p:nvSpPr>
        <p:spPr>
          <a:xfrm>
            <a:off x="491698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eature selection</a:t>
            </a:r>
          </a:p>
        </p:txBody>
      </p:sp>
    </p:spTree>
    <p:extLst>
      <p:ext uri="{BB962C8B-B14F-4D97-AF65-F5344CB8AC3E}">
        <p14:creationId xmlns:p14="http://schemas.microsoft.com/office/powerpoint/2010/main" val="942574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zövegdoboz 8">
            <a:extLst>
              <a:ext uri="{FF2B5EF4-FFF2-40B4-BE49-F238E27FC236}">
                <a16:creationId xmlns:a16="http://schemas.microsoft.com/office/drawing/2014/main" id="{0740250F-1305-1FF6-03E9-C4B257374E36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fld id="{3C193CD2-EB5E-4946-8C5C-F7B26690B716}" type="slidenum">
              <a:rPr lang="en-US" sz="1200" b="1" noProof="0" smtClean="0">
                <a:solidFill>
                  <a:schemeClr val="bg1">
                    <a:lumMod val="65000"/>
                  </a:schemeClr>
                </a:solidFill>
                <a:latin typeface="Google Sans Text"/>
              </a:rPr>
              <a:pPr algn="r" rtl="0"/>
              <a:t>‹#›</a:t>
            </a:fld>
            <a:endParaRPr lang="en-US" sz="1200" b="1" noProof="0">
              <a:solidFill>
                <a:schemeClr val="bg1">
                  <a:lumMod val="65000"/>
                </a:schemeClr>
              </a:solidFill>
              <a:latin typeface="Google Sans Tex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56F7515-7687-AAE7-B889-13E925F77DED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87CD60A7-F3CB-0ECB-7B7C-4C5BF37B46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96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lang="en-GB" sz="1600" i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Part of the task</a:t>
            </a:r>
          </a:p>
        </p:txBody>
      </p:sp>
      <p:sp>
        <p:nvSpPr>
          <p:cNvPr id="24" name="Szöveg helye 2">
            <a:extLst>
              <a:ext uri="{FF2B5EF4-FFF2-40B4-BE49-F238E27FC236}">
                <a16:creationId xmlns:a16="http://schemas.microsoft.com/office/drawing/2014/main" id="{7451F2D6-DFE7-C54B-20BC-AE0EE6F99A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96" y="0"/>
            <a:ext cx="11066184" cy="441417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lang="en-GB" sz="1800" b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Task #</a:t>
            </a:r>
          </a:p>
        </p:txBody>
      </p:sp>
      <p:sp>
        <p:nvSpPr>
          <p:cNvPr id="2" name="Szövegdoboz 42">
            <a:extLst>
              <a:ext uri="{FF2B5EF4-FFF2-40B4-BE49-F238E27FC236}">
                <a16:creationId xmlns:a16="http://schemas.microsoft.com/office/drawing/2014/main" id="{C2957653-11CC-5940-EC9C-5EAC281D9718}"/>
              </a:ext>
            </a:extLst>
          </p:cNvPr>
          <p:cNvSpPr txBox="1"/>
          <p:nvPr userDrawn="1"/>
        </p:nvSpPr>
        <p:spPr>
          <a:xfrm>
            <a:off x="890149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b="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inal Model</a:t>
            </a:r>
          </a:p>
        </p:txBody>
      </p:sp>
      <p:sp>
        <p:nvSpPr>
          <p:cNvPr id="3" name="Szövegdoboz 26">
            <a:extLst>
              <a:ext uri="{FF2B5EF4-FFF2-40B4-BE49-F238E27FC236}">
                <a16:creationId xmlns:a16="http://schemas.microsoft.com/office/drawing/2014/main" id="{33698C54-E72A-027F-7699-ACF7FB9DF129}"/>
              </a:ext>
            </a:extLst>
          </p:cNvPr>
          <p:cNvSpPr txBox="1"/>
          <p:nvPr userDrawn="1"/>
        </p:nvSpPr>
        <p:spPr>
          <a:xfrm>
            <a:off x="284475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Data Exploration</a:t>
            </a:r>
          </a:p>
        </p:txBody>
      </p:sp>
      <p:sp>
        <p:nvSpPr>
          <p:cNvPr id="4" name="Szövegdoboz 27">
            <a:extLst>
              <a:ext uri="{FF2B5EF4-FFF2-40B4-BE49-F238E27FC236}">
                <a16:creationId xmlns:a16="http://schemas.microsoft.com/office/drawing/2014/main" id="{AFE0AA9A-83C4-571D-02D2-74027AAC34DD}"/>
              </a:ext>
            </a:extLst>
          </p:cNvPr>
          <p:cNvSpPr txBox="1"/>
          <p:nvPr userDrawn="1"/>
        </p:nvSpPr>
        <p:spPr>
          <a:xfrm>
            <a:off x="690171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noProof="0">
                <a:latin typeface="Google Sans Text"/>
              </a:rPr>
              <a:t>Modeling</a:t>
            </a:r>
          </a:p>
        </p:txBody>
      </p:sp>
      <p:sp>
        <p:nvSpPr>
          <p:cNvPr id="5" name="Szövegdoboz 26">
            <a:extLst>
              <a:ext uri="{FF2B5EF4-FFF2-40B4-BE49-F238E27FC236}">
                <a16:creationId xmlns:a16="http://schemas.microsoft.com/office/drawing/2014/main" id="{99F95A60-31B0-4D24-F09F-5B61458B5523}"/>
              </a:ext>
            </a:extLst>
          </p:cNvPr>
          <p:cNvSpPr txBox="1"/>
          <p:nvPr userDrawn="1"/>
        </p:nvSpPr>
        <p:spPr>
          <a:xfrm>
            <a:off x="744273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Motivation</a:t>
            </a:r>
          </a:p>
        </p:txBody>
      </p:sp>
      <p:sp>
        <p:nvSpPr>
          <p:cNvPr id="6" name="Szövegdoboz 26">
            <a:extLst>
              <a:ext uri="{FF2B5EF4-FFF2-40B4-BE49-F238E27FC236}">
                <a16:creationId xmlns:a16="http://schemas.microsoft.com/office/drawing/2014/main" id="{D7E9860B-D827-F166-FEA9-3D84010F7D56}"/>
              </a:ext>
            </a:extLst>
          </p:cNvPr>
          <p:cNvSpPr txBox="1"/>
          <p:nvPr userDrawn="1"/>
        </p:nvSpPr>
        <p:spPr>
          <a:xfrm>
            <a:off x="491698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1" i="0" kern="1200" noProof="0">
                <a:solidFill>
                  <a:schemeClr val="tx1"/>
                </a:solidFill>
                <a:latin typeface="Google Sans Text"/>
              </a:rPr>
              <a:t>Feature selection</a:t>
            </a:r>
          </a:p>
        </p:txBody>
      </p:sp>
    </p:spTree>
    <p:extLst>
      <p:ext uri="{BB962C8B-B14F-4D97-AF65-F5344CB8AC3E}">
        <p14:creationId xmlns:p14="http://schemas.microsoft.com/office/powerpoint/2010/main" val="139236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zövegdoboz 8">
            <a:extLst>
              <a:ext uri="{FF2B5EF4-FFF2-40B4-BE49-F238E27FC236}">
                <a16:creationId xmlns:a16="http://schemas.microsoft.com/office/drawing/2014/main" id="{0740250F-1305-1FF6-03E9-C4B257374E36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fld id="{3C193CD2-EB5E-4946-8C5C-F7B26690B716}" type="slidenum">
              <a:rPr lang="en-US" sz="1200" b="1" noProof="0" smtClean="0">
                <a:solidFill>
                  <a:schemeClr val="bg1">
                    <a:lumMod val="65000"/>
                  </a:schemeClr>
                </a:solidFill>
                <a:latin typeface="Google Sans Text"/>
              </a:rPr>
              <a:pPr algn="r" rtl="0"/>
              <a:t>‹#›</a:t>
            </a:fld>
            <a:endParaRPr lang="en-US" sz="1200" b="1" noProof="0">
              <a:solidFill>
                <a:schemeClr val="bg1">
                  <a:lumMod val="65000"/>
                </a:schemeClr>
              </a:solidFill>
              <a:latin typeface="Google Sans Tex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56F7515-7687-AAE7-B889-13E925F77DED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87CD60A7-F3CB-0ECB-7B7C-4C5BF37B46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96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lang="en-GB" sz="1600" i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Part of the task</a:t>
            </a:r>
          </a:p>
        </p:txBody>
      </p:sp>
      <p:sp>
        <p:nvSpPr>
          <p:cNvPr id="24" name="Szöveg helye 2">
            <a:extLst>
              <a:ext uri="{FF2B5EF4-FFF2-40B4-BE49-F238E27FC236}">
                <a16:creationId xmlns:a16="http://schemas.microsoft.com/office/drawing/2014/main" id="{7451F2D6-DFE7-C54B-20BC-AE0EE6F99A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96" y="0"/>
            <a:ext cx="11066184" cy="441417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lang="en-GB" sz="1800" b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Task #</a:t>
            </a:r>
          </a:p>
        </p:txBody>
      </p:sp>
      <p:sp>
        <p:nvSpPr>
          <p:cNvPr id="2" name="Szövegdoboz 42">
            <a:extLst>
              <a:ext uri="{FF2B5EF4-FFF2-40B4-BE49-F238E27FC236}">
                <a16:creationId xmlns:a16="http://schemas.microsoft.com/office/drawing/2014/main" id="{C2957653-11CC-5940-EC9C-5EAC281D9718}"/>
              </a:ext>
            </a:extLst>
          </p:cNvPr>
          <p:cNvSpPr txBox="1"/>
          <p:nvPr userDrawn="1"/>
        </p:nvSpPr>
        <p:spPr>
          <a:xfrm>
            <a:off x="890149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 rtl="0"/>
            <a:r>
              <a:rPr lang="en-US" sz="1200" b="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inal Model</a:t>
            </a:r>
          </a:p>
        </p:txBody>
      </p:sp>
      <p:sp>
        <p:nvSpPr>
          <p:cNvPr id="3" name="Szövegdoboz 26">
            <a:extLst>
              <a:ext uri="{FF2B5EF4-FFF2-40B4-BE49-F238E27FC236}">
                <a16:creationId xmlns:a16="http://schemas.microsoft.com/office/drawing/2014/main" id="{33698C54-E72A-027F-7699-ACF7FB9DF129}"/>
              </a:ext>
            </a:extLst>
          </p:cNvPr>
          <p:cNvSpPr txBox="1"/>
          <p:nvPr userDrawn="1"/>
        </p:nvSpPr>
        <p:spPr>
          <a:xfrm>
            <a:off x="284475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Data Exploration</a:t>
            </a:r>
          </a:p>
        </p:txBody>
      </p:sp>
      <p:sp>
        <p:nvSpPr>
          <p:cNvPr id="4" name="Szövegdoboz 27">
            <a:extLst>
              <a:ext uri="{FF2B5EF4-FFF2-40B4-BE49-F238E27FC236}">
                <a16:creationId xmlns:a16="http://schemas.microsoft.com/office/drawing/2014/main" id="{AFE0AA9A-83C4-571D-02D2-74027AAC34DD}"/>
              </a:ext>
            </a:extLst>
          </p:cNvPr>
          <p:cNvSpPr txBox="1"/>
          <p:nvPr userDrawn="1"/>
        </p:nvSpPr>
        <p:spPr>
          <a:xfrm>
            <a:off x="690171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1" i="0" kern="1200" noProof="0">
                <a:solidFill>
                  <a:schemeClr val="tx1"/>
                </a:solidFill>
                <a:latin typeface="Google Sans Text"/>
              </a:rPr>
              <a:t>Modeling</a:t>
            </a:r>
          </a:p>
        </p:txBody>
      </p:sp>
      <p:sp>
        <p:nvSpPr>
          <p:cNvPr id="5" name="Szövegdoboz 26">
            <a:extLst>
              <a:ext uri="{FF2B5EF4-FFF2-40B4-BE49-F238E27FC236}">
                <a16:creationId xmlns:a16="http://schemas.microsoft.com/office/drawing/2014/main" id="{99F95A60-31B0-4D24-F09F-5B61458B5523}"/>
              </a:ext>
            </a:extLst>
          </p:cNvPr>
          <p:cNvSpPr txBox="1"/>
          <p:nvPr userDrawn="1"/>
        </p:nvSpPr>
        <p:spPr>
          <a:xfrm>
            <a:off x="744273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Motivation</a:t>
            </a:r>
          </a:p>
        </p:txBody>
      </p:sp>
      <p:sp>
        <p:nvSpPr>
          <p:cNvPr id="6" name="Szövegdoboz 26">
            <a:extLst>
              <a:ext uri="{FF2B5EF4-FFF2-40B4-BE49-F238E27FC236}">
                <a16:creationId xmlns:a16="http://schemas.microsoft.com/office/drawing/2014/main" id="{D7E9860B-D827-F166-FEA9-3D84010F7D56}"/>
              </a:ext>
            </a:extLst>
          </p:cNvPr>
          <p:cNvSpPr txBox="1"/>
          <p:nvPr userDrawn="1"/>
        </p:nvSpPr>
        <p:spPr>
          <a:xfrm>
            <a:off x="491698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eature selection</a:t>
            </a:r>
          </a:p>
        </p:txBody>
      </p:sp>
    </p:spTree>
    <p:extLst>
      <p:ext uri="{BB962C8B-B14F-4D97-AF65-F5344CB8AC3E}">
        <p14:creationId xmlns:p14="http://schemas.microsoft.com/office/powerpoint/2010/main" val="41241264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zövegdoboz 8">
            <a:extLst>
              <a:ext uri="{FF2B5EF4-FFF2-40B4-BE49-F238E27FC236}">
                <a16:creationId xmlns:a16="http://schemas.microsoft.com/office/drawing/2014/main" id="{0740250F-1305-1FF6-03E9-C4B257374E36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fld id="{3C193CD2-EB5E-4946-8C5C-F7B26690B716}" type="slidenum">
              <a:rPr lang="en-US" sz="1200" b="1" noProof="0" smtClean="0">
                <a:solidFill>
                  <a:schemeClr val="bg1">
                    <a:lumMod val="65000"/>
                  </a:schemeClr>
                </a:solidFill>
                <a:latin typeface="Google Sans Text"/>
              </a:rPr>
              <a:pPr algn="r" rtl="0"/>
              <a:t>‹#›</a:t>
            </a:fld>
            <a:endParaRPr lang="en-US" sz="1200" b="1" noProof="0">
              <a:solidFill>
                <a:schemeClr val="bg1">
                  <a:lumMod val="65000"/>
                </a:schemeClr>
              </a:solidFill>
              <a:latin typeface="Google Sans Tex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56F7515-7687-AAE7-B889-13E925F77DED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87CD60A7-F3CB-0ECB-7B7C-4C5BF37B46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96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lang="en-GB" sz="1600" i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Part of the task</a:t>
            </a:r>
          </a:p>
        </p:txBody>
      </p:sp>
      <p:sp>
        <p:nvSpPr>
          <p:cNvPr id="24" name="Szöveg helye 2">
            <a:extLst>
              <a:ext uri="{FF2B5EF4-FFF2-40B4-BE49-F238E27FC236}">
                <a16:creationId xmlns:a16="http://schemas.microsoft.com/office/drawing/2014/main" id="{7451F2D6-DFE7-C54B-20BC-AE0EE6F99A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96" y="0"/>
            <a:ext cx="11066184" cy="441417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lang="en-GB" sz="1800" b="1">
                <a:latin typeface="Google Sans Text"/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US" noProof="0"/>
              <a:t>Task #</a:t>
            </a:r>
          </a:p>
        </p:txBody>
      </p:sp>
      <p:sp>
        <p:nvSpPr>
          <p:cNvPr id="2" name="Szövegdoboz 42">
            <a:extLst>
              <a:ext uri="{FF2B5EF4-FFF2-40B4-BE49-F238E27FC236}">
                <a16:creationId xmlns:a16="http://schemas.microsoft.com/office/drawing/2014/main" id="{C2957653-11CC-5940-EC9C-5EAC281D9718}"/>
              </a:ext>
            </a:extLst>
          </p:cNvPr>
          <p:cNvSpPr txBox="1"/>
          <p:nvPr userDrawn="1"/>
        </p:nvSpPr>
        <p:spPr>
          <a:xfrm>
            <a:off x="890149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1" i="0" kern="1200" noProof="0">
                <a:solidFill>
                  <a:schemeClr val="tx1"/>
                </a:solidFill>
                <a:latin typeface="Google Sans Text"/>
              </a:rPr>
              <a:t>Final Model</a:t>
            </a:r>
          </a:p>
        </p:txBody>
      </p:sp>
      <p:sp>
        <p:nvSpPr>
          <p:cNvPr id="3" name="Szövegdoboz 26">
            <a:extLst>
              <a:ext uri="{FF2B5EF4-FFF2-40B4-BE49-F238E27FC236}">
                <a16:creationId xmlns:a16="http://schemas.microsoft.com/office/drawing/2014/main" id="{33698C54-E72A-027F-7699-ACF7FB9DF129}"/>
              </a:ext>
            </a:extLst>
          </p:cNvPr>
          <p:cNvSpPr txBox="1"/>
          <p:nvPr userDrawn="1"/>
        </p:nvSpPr>
        <p:spPr>
          <a:xfrm>
            <a:off x="2844754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Data Exploration</a:t>
            </a:r>
          </a:p>
        </p:txBody>
      </p:sp>
      <p:sp>
        <p:nvSpPr>
          <p:cNvPr id="4" name="Szövegdoboz 27">
            <a:extLst>
              <a:ext uri="{FF2B5EF4-FFF2-40B4-BE49-F238E27FC236}">
                <a16:creationId xmlns:a16="http://schemas.microsoft.com/office/drawing/2014/main" id="{AFE0AA9A-83C4-571D-02D2-74027AAC34DD}"/>
              </a:ext>
            </a:extLst>
          </p:cNvPr>
          <p:cNvSpPr txBox="1"/>
          <p:nvPr userDrawn="1"/>
        </p:nvSpPr>
        <p:spPr>
          <a:xfrm>
            <a:off x="690171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Modeling</a:t>
            </a:r>
          </a:p>
        </p:txBody>
      </p:sp>
      <p:sp>
        <p:nvSpPr>
          <p:cNvPr id="5" name="Szövegdoboz 26">
            <a:extLst>
              <a:ext uri="{FF2B5EF4-FFF2-40B4-BE49-F238E27FC236}">
                <a16:creationId xmlns:a16="http://schemas.microsoft.com/office/drawing/2014/main" id="{99F95A60-31B0-4D24-F09F-5B61458B5523}"/>
              </a:ext>
            </a:extLst>
          </p:cNvPr>
          <p:cNvSpPr txBox="1"/>
          <p:nvPr userDrawn="1"/>
        </p:nvSpPr>
        <p:spPr>
          <a:xfrm>
            <a:off x="744273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Motivation</a:t>
            </a:r>
          </a:p>
        </p:txBody>
      </p:sp>
      <p:sp>
        <p:nvSpPr>
          <p:cNvPr id="6" name="Szövegdoboz 26">
            <a:extLst>
              <a:ext uri="{FF2B5EF4-FFF2-40B4-BE49-F238E27FC236}">
                <a16:creationId xmlns:a16="http://schemas.microsoft.com/office/drawing/2014/main" id="{D7E9860B-D827-F166-FEA9-3D84010F7D56}"/>
              </a:ext>
            </a:extLst>
          </p:cNvPr>
          <p:cNvSpPr txBox="1"/>
          <p:nvPr userDrawn="1"/>
        </p:nvSpPr>
        <p:spPr>
          <a:xfrm>
            <a:off x="4916985" y="6658550"/>
            <a:ext cx="180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 algn="ctr" defTabSz="914400" rtl="0" eaLnBrk="1" latinLnBrk="0" hangingPunct="1"/>
            <a:r>
              <a:rPr lang="en-US" sz="1200" b="0" i="0" kern="1200" noProof="0">
                <a:solidFill>
                  <a:schemeClr val="tx1">
                    <a:lumMod val="50000"/>
                    <a:lumOff val="50000"/>
                  </a:schemeClr>
                </a:solidFill>
                <a:latin typeface="Google Sans Text"/>
              </a:rPr>
              <a:t>Feature selection</a:t>
            </a:r>
          </a:p>
        </p:txBody>
      </p:sp>
    </p:spTree>
    <p:extLst>
      <p:ext uri="{BB962C8B-B14F-4D97-AF65-F5344CB8AC3E}">
        <p14:creationId xmlns:p14="http://schemas.microsoft.com/office/powerpoint/2010/main" val="13581740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2">
            <a:extLst>
              <a:ext uri="{FF2B5EF4-FFF2-40B4-BE49-F238E27FC236}">
                <a16:creationId xmlns:a16="http://schemas.microsoft.com/office/drawing/2014/main" id="{2BA0F894-510A-2543-B1A7-98275DFCF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3374" y="247650"/>
            <a:ext cx="10732809" cy="44141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/>
            </a:lvl1pPr>
          </a:lstStyle>
          <a:p>
            <a:r>
              <a:rPr lang="en-GB"/>
              <a:t>Action title</a:t>
            </a:r>
          </a:p>
        </p:txBody>
      </p:sp>
      <p:sp>
        <p:nvSpPr>
          <p:cNvPr id="10" name="Szövegdoboz 8">
            <a:extLst>
              <a:ext uri="{FF2B5EF4-FFF2-40B4-BE49-F238E27FC236}">
                <a16:creationId xmlns:a16="http://schemas.microsoft.com/office/drawing/2014/main" id="{551254BD-9D4B-4EAA-BFB7-83C3B9F7B478}"/>
              </a:ext>
            </a:extLst>
          </p:cNvPr>
          <p:cNvSpPr txBox="1"/>
          <p:nvPr userDrawn="1"/>
        </p:nvSpPr>
        <p:spPr>
          <a:xfrm>
            <a:off x="11422380" y="6517910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193CD2-EB5E-4946-8C5C-F7B26690B716}" type="slidenum">
              <a:rPr lang="hu-HU" sz="1200" b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#›</a:t>
            </a:fld>
            <a:endParaRPr lang="hu-HU" sz="1200" b="1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13" name="Szövegdoboz 42">
            <a:extLst>
              <a:ext uri="{FF2B5EF4-FFF2-40B4-BE49-F238E27FC236}">
                <a16:creationId xmlns:a16="http://schemas.microsoft.com/office/drawing/2014/main" id="{2B860BE1-D143-4AF3-B08E-A973B4622C82}"/>
              </a:ext>
            </a:extLst>
          </p:cNvPr>
          <p:cNvSpPr txBox="1"/>
          <p:nvPr userDrawn="1"/>
        </p:nvSpPr>
        <p:spPr>
          <a:xfrm>
            <a:off x="5449824" y="6656620"/>
            <a:ext cx="1292352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 b="1">
                <a:solidFill>
                  <a:schemeClr val="tx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944705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Breadcrumbs">
  <p:cSld name="Title, Breadcrumbs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5"/>
          <p:cNvSpPr txBox="1"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entury Gothic"/>
              <a:buNone/>
              <a:defRPr sz="3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25"/>
          <p:cNvSpPr txBox="1">
            <a:spLocks noGrp="1"/>
          </p:cNvSpPr>
          <p:nvPr>
            <p:ph type="body" idx="1"/>
          </p:nvPr>
        </p:nvSpPr>
        <p:spPr>
          <a:xfrm>
            <a:off x="914971" y="466344"/>
            <a:ext cx="3355848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accent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1928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8940D5-886F-0ABA-6EF3-D5A28458A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A852DC-98C6-725A-8DDA-8A52DC400C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B94C8-6263-B683-4F5D-56591822F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DD4C1D-C268-A224-3A9A-25A0DD5D9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6086E2-2E82-68B8-D299-8400DC661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371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zöveg helye 2">
            <a:extLst>
              <a:ext uri="{FF2B5EF4-FFF2-40B4-BE49-F238E27FC236}">
                <a16:creationId xmlns:a16="http://schemas.microsoft.com/office/drawing/2014/main" id="{C0D3D432-2E44-C142-ABD2-BDF76D6F55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1066184" cy="44141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800" b="1"/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hu-HU" err="1"/>
              <a:t>Task</a:t>
            </a:r>
            <a:r>
              <a:rPr lang="hu-HU"/>
              <a:t> #</a:t>
            </a:r>
            <a:endParaRPr lang="en-GB"/>
          </a:p>
        </p:txBody>
      </p:sp>
      <p:sp>
        <p:nvSpPr>
          <p:cNvPr id="14" name="Szövegdoboz 8">
            <a:extLst>
              <a:ext uri="{FF2B5EF4-FFF2-40B4-BE49-F238E27FC236}">
                <a16:creationId xmlns:a16="http://schemas.microsoft.com/office/drawing/2014/main" id="{56AF44A3-836A-442E-9C39-2A2D1905E9D4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193CD2-EB5E-4946-8C5C-F7B26690B716}" type="slidenum">
              <a:rPr lang="hu-HU" sz="1200" b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#›</a:t>
            </a:fld>
            <a:endParaRPr lang="hu-HU" sz="1200" b="1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39E1E35D-4142-2B59-D9FE-8988D0ECEB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i="1"/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hu-HU"/>
              <a:t>Part of </a:t>
            </a:r>
            <a:r>
              <a:rPr lang="hu-HU" err="1"/>
              <a:t>the</a:t>
            </a:r>
            <a:r>
              <a:rPr lang="hu-HU"/>
              <a:t> </a:t>
            </a:r>
            <a:r>
              <a:rPr lang="hu-HU" err="1"/>
              <a:t>task</a:t>
            </a:r>
            <a:endParaRPr lang="en-GB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A8EA54E-851B-D85A-C5B0-5F3D1687FE7B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zövegdoboz 42">
            <a:extLst>
              <a:ext uri="{FF2B5EF4-FFF2-40B4-BE49-F238E27FC236}">
                <a16:creationId xmlns:a16="http://schemas.microsoft.com/office/drawing/2014/main" id="{271812C1-2B0E-68E4-69E7-F58AF4056757}"/>
              </a:ext>
            </a:extLst>
          </p:cNvPr>
          <p:cNvSpPr txBox="1"/>
          <p:nvPr userDrawn="1"/>
        </p:nvSpPr>
        <p:spPr>
          <a:xfrm>
            <a:off x="9366881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1" i="0"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ru-RU"/>
              <a:t>10</a:t>
            </a:r>
            <a:endParaRPr lang="hu-HU"/>
          </a:p>
        </p:txBody>
      </p:sp>
      <p:sp>
        <p:nvSpPr>
          <p:cNvPr id="4" name="Szövegdoboz 26">
            <a:extLst>
              <a:ext uri="{FF2B5EF4-FFF2-40B4-BE49-F238E27FC236}">
                <a16:creationId xmlns:a16="http://schemas.microsoft.com/office/drawing/2014/main" id="{726037C4-ED34-C080-5F82-107EE9BFD571}"/>
              </a:ext>
            </a:extLst>
          </p:cNvPr>
          <p:cNvSpPr txBox="1"/>
          <p:nvPr userDrawn="1"/>
        </p:nvSpPr>
        <p:spPr>
          <a:xfrm>
            <a:off x="1406487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ru-RU"/>
              <a:t>6</a:t>
            </a:r>
            <a:endParaRPr lang="hu-HU"/>
          </a:p>
        </p:txBody>
      </p:sp>
      <p:sp>
        <p:nvSpPr>
          <p:cNvPr id="6" name="Szövegdoboz 27">
            <a:extLst>
              <a:ext uri="{FF2B5EF4-FFF2-40B4-BE49-F238E27FC236}">
                <a16:creationId xmlns:a16="http://schemas.microsoft.com/office/drawing/2014/main" id="{5680B71B-F187-C1B4-66F1-B0174FD162ED}"/>
              </a:ext>
            </a:extLst>
          </p:cNvPr>
          <p:cNvSpPr txBox="1"/>
          <p:nvPr userDrawn="1"/>
        </p:nvSpPr>
        <p:spPr>
          <a:xfrm>
            <a:off x="3396585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 sz="1200"/>
              <a:t>Task </a:t>
            </a:r>
            <a:r>
              <a:rPr lang="ru-RU" sz="1200"/>
              <a:t>7</a:t>
            </a:r>
            <a:endParaRPr lang="en-US" sz="1200"/>
          </a:p>
        </p:txBody>
      </p:sp>
      <p:sp>
        <p:nvSpPr>
          <p:cNvPr id="7" name="Szövegdoboz 42">
            <a:extLst>
              <a:ext uri="{FF2B5EF4-FFF2-40B4-BE49-F238E27FC236}">
                <a16:creationId xmlns:a16="http://schemas.microsoft.com/office/drawing/2014/main" id="{393A6458-771F-ED72-BB4D-5D5F8E82E711}"/>
              </a:ext>
            </a:extLst>
          </p:cNvPr>
          <p:cNvSpPr txBox="1"/>
          <p:nvPr userDrawn="1"/>
        </p:nvSpPr>
        <p:spPr>
          <a:xfrm>
            <a:off x="7376781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ru-RU"/>
              <a:t>9</a:t>
            </a:r>
            <a:endParaRPr lang="hu-HU"/>
          </a:p>
        </p:txBody>
      </p:sp>
      <p:sp>
        <p:nvSpPr>
          <p:cNvPr id="8" name="Szövegdoboz 27">
            <a:extLst>
              <a:ext uri="{FF2B5EF4-FFF2-40B4-BE49-F238E27FC236}">
                <a16:creationId xmlns:a16="http://schemas.microsoft.com/office/drawing/2014/main" id="{C0C5095E-2980-F991-CC4E-26D2614828E7}"/>
              </a:ext>
            </a:extLst>
          </p:cNvPr>
          <p:cNvSpPr txBox="1"/>
          <p:nvPr userDrawn="1"/>
        </p:nvSpPr>
        <p:spPr>
          <a:xfrm>
            <a:off x="5386683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0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 sz="1200"/>
              <a:t>Task </a:t>
            </a:r>
            <a:r>
              <a:rPr lang="ru-RU" sz="1200"/>
              <a:t>8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692194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zöveg helye 2">
            <a:extLst>
              <a:ext uri="{FF2B5EF4-FFF2-40B4-BE49-F238E27FC236}">
                <a16:creationId xmlns:a16="http://schemas.microsoft.com/office/drawing/2014/main" id="{C0D3D432-2E44-C142-ABD2-BDF76D6F55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1066184" cy="44141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800" b="1"/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hu-HU" err="1"/>
              <a:t>Task</a:t>
            </a:r>
            <a:r>
              <a:rPr lang="hu-HU"/>
              <a:t> #</a:t>
            </a:r>
            <a:endParaRPr lang="en-GB"/>
          </a:p>
        </p:txBody>
      </p:sp>
      <p:sp>
        <p:nvSpPr>
          <p:cNvPr id="14" name="Szövegdoboz 8">
            <a:extLst>
              <a:ext uri="{FF2B5EF4-FFF2-40B4-BE49-F238E27FC236}">
                <a16:creationId xmlns:a16="http://schemas.microsoft.com/office/drawing/2014/main" id="{56AF44A3-836A-442E-9C39-2A2D1905E9D4}"/>
              </a:ext>
            </a:extLst>
          </p:cNvPr>
          <p:cNvSpPr txBox="1"/>
          <p:nvPr userDrawn="1"/>
        </p:nvSpPr>
        <p:spPr>
          <a:xfrm>
            <a:off x="11422380" y="6527435"/>
            <a:ext cx="617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193CD2-EB5E-4946-8C5C-F7B26690B716}" type="slidenum">
              <a:rPr lang="hu-HU" sz="1200" b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#›</a:t>
            </a:fld>
            <a:endParaRPr lang="hu-HU" sz="1200" b="1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39E1E35D-4142-2B59-D9FE-8988D0ECEB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487020"/>
            <a:ext cx="11066184" cy="28823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i="1"/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hu-HU"/>
              <a:t>Part of </a:t>
            </a:r>
            <a:r>
              <a:rPr lang="hu-HU" err="1"/>
              <a:t>the</a:t>
            </a:r>
            <a:r>
              <a:rPr lang="hu-HU"/>
              <a:t> </a:t>
            </a:r>
            <a:r>
              <a:rPr lang="hu-HU" err="1"/>
              <a:t>task</a:t>
            </a:r>
            <a:endParaRPr lang="en-GB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A8EA54E-851B-D85A-C5B0-5F3D1687FE7B}"/>
              </a:ext>
            </a:extLst>
          </p:cNvPr>
          <p:cNvCxnSpPr>
            <a:cxnSpLocks/>
          </p:cNvCxnSpPr>
          <p:nvPr userDrawn="1"/>
        </p:nvCxnSpPr>
        <p:spPr>
          <a:xfrm>
            <a:off x="0" y="805070"/>
            <a:ext cx="1203960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zövegdoboz 42">
            <a:extLst>
              <a:ext uri="{FF2B5EF4-FFF2-40B4-BE49-F238E27FC236}">
                <a16:creationId xmlns:a16="http://schemas.microsoft.com/office/drawing/2014/main" id="{CB26848D-4ED4-55ED-08EE-DA66BE863809}"/>
              </a:ext>
            </a:extLst>
          </p:cNvPr>
          <p:cNvSpPr txBox="1"/>
          <p:nvPr userDrawn="1"/>
        </p:nvSpPr>
        <p:spPr>
          <a:xfrm>
            <a:off x="7753534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de-AT"/>
              <a:t>14</a:t>
            </a:r>
            <a:endParaRPr lang="hu-HU"/>
          </a:p>
        </p:txBody>
      </p:sp>
      <p:sp>
        <p:nvSpPr>
          <p:cNvPr id="10" name="Szövegdoboz 26">
            <a:extLst>
              <a:ext uri="{FF2B5EF4-FFF2-40B4-BE49-F238E27FC236}">
                <a16:creationId xmlns:a16="http://schemas.microsoft.com/office/drawing/2014/main" id="{1F5EDFD6-27E1-BE35-DF88-7732F18A449F}"/>
              </a:ext>
            </a:extLst>
          </p:cNvPr>
          <p:cNvSpPr txBox="1"/>
          <p:nvPr userDrawn="1"/>
        </p:nvSpPr>
        <p:spPr>
          <a:xfrm>
            <a:off x="614668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de-AT"/>
              <a:t>11</a:t>
            </a:r>
            <a:endParaRPr lang="hu-HU"/>
          </a:p>
        </p:txBody>
      </p:sp>
      <p:sp>
        <p:nvSpPr>
          <p:cNvPr id="11" name="Szövegdoboz 27">
            <a:extLst>
              <a:ext uri="{FF2B5EF4-FFF2-40B4-BE49-F238E27FC236}">
                <a16:creationId xmlns:a16="http://schemas.microsoft.com/office/drawing/2014/main" id="{B2AC80CA-3CC2-F5DB-9B4D-4CC99D4223D9}"/>
              </a:ext>
            </a:extLst>
          </p:cNvPr>
          <p:cNvSpPr txBox="1"/>
          <p:nvPr userDrawn="1"/>
        </p:nvSpPr>
        <p:spPr>
          <a:xfrm>
            <a:off x="2994290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de-AT"/>
              <a:t>12</a:t>
            </a:r>
            <a:endParaRPr lang="en-US"/>
          </a:p>
        </p:txBody>
      </p:sp>
      <p:sp>
        <p:nvSpPr>
          <p:cNvPr id="12" name="Szövegdoboz 42">
            <a:extLst>
              <a:ext uri="{FF2B5EF4-FFF2-40B4-BE49-F238E27FC236}">
                <a16:creationId xmlns:a16="http://schemas.microsoft.com/office/drawing/2014/main" id="{8D2E1378-D03E-82A1-6B60-5753667DA5F0}"/>
              </a:ext>
            </a:extLst>
          </p:cNvPr>
          <p:cNvSpPr txBox="1"/>
          <p:nvPr userDrawn="1"/>
        </p:nvSpPr>
        <p:spPr>
          <a:xfrm>
            <a:off x="5373912" y="6660137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0" i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de-AT"/>
              <a:t>13</a:t>
            </a:r>
            <a:endParaRPr lang="hu-HU"/>
          </a:p>
        </p:txBody>
      </p:sp>
      <p:sp>
        <p:nvSpPr>
          <p:cNvPr id="15" name="Szövegdoboz 42">
            <a:extLst>
              <a:ext uri="{FF2B5EF4-FFF2-40B4-BE49-F238E27FC236}">
                <a16:creationId xmlns:a16="http://schemas.microsoft.com/office/drawing/2014/main" id="{8A84BB8A-FF49-B681-B55C-69BE9960FA32}"/>
              </a:ext>
            </a:extLst>
          </p:cNvPr>
          <p:cNvSpPr txBox="1"/>
          <p:nvPr userDrawn="1"/>
        </p:nvSpPr>
        <p:spPr>
          <a:xfrm>
            <a:off x="10133156" y="6660030"/>
            <a:ext cx="144000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 lvl="0" algn="ctr">
              <a:defRPr sz="1200" b="1" i="0"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hu-HU"/>
              <a:t>Task </a:t>
            </a:r>
            <a:r>
              <a:rPr lang="de-AT"/>
              <a:t>15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96113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45289-8171-5245-9A65-FF72DF4F1E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141F75-9BD4-0EC0-08CD-6C1922D989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E4B820-7F78-335C-5A50-4ADEE4521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561D7E-D4A0-E861-ACB6-4AF9D0523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47C9C-877D-07A2-4C4C-93E69F8D0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769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42C13-F3F4-9F44-25E4-895A1101E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57E282-5E7A-DDB3-E860-4710B1692B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C32ECB-21F3-47EB-FE32-3B3EBFADAD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B5B98D-90CA-DA09-F671-04700281A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4596ED-589A-A3C9-D89F-770E27F55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E619EE-E0E3-5CF8-EE77-E8F2393F8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955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00E8E-A3F5-7F1A-F626-8555EE4B9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BD47EA-52BF-219B-CE3A-D13408BDF8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E0CCDA-D778-D830-D4C7-6FE54B7F1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DB6E22-4870-DEEA-2206-C3EDD07323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900B8A-1832-5ED7-BDCE-37CC53EEFE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A38B3BD-C54C-96DB-8671-2E7B267DCF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7CEE39-60FB-6427-85B8-E6BDB8704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44916F-98D5-E3B0-0976-078091C1A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3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7FDD-0945-FBAD-5CE2-C93FE2BD6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7EA6B9-09A5-3D99-A9F8-01AEA2690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F191B8-FB61-53D7-BD9E-F2AB64874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9B6444-E4E8-E9A0-F752-E4D555118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01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C0AF05-077D-CF1A-A92F-A3D250CBB3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7E17B5-54BA-90EB-6CB1-21045E5F8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B765A0-55E5-936B-CE63-535844F82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504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31575-526A-480E-0430-5FB86790A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52B6D3-6555-8024-0BC5-8366E3776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0DBBE0-A9B8-1E7C-B2E5-B3DC526F62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234CE7-27E2-BAD5-4AFA-997B1BC1A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2618A8-0727-9851-23B2-5B1358F67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631A45-780D-F612-7893-B599C1FAE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40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DD119-9F36-A132-616B-F959C585F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075CA9-FB26-5967-1860-1C470016D2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54FDF-D2FD-BBC8-1F3D-F792923542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81BA11-66BE-4595-06EE-0FDDD7E72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335D5D-941A-EEF2-6E7E-00BB685C1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A15A0A-7912-EA4D-7311-1A73871E2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912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8B35C82-5DC5-9ECA-8B18-19556491D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3674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B35C82-5DC5-9ECA-8B18-19556491D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6D55F8-3AA2-B507-7C50-C4A4D39A0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95FF30-4D08-CA48-DC8A-657B753207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DB2A36-6FAA-FB1B-F0DA-D045BB4091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D0C3F9A-F90F-4C58-BD0D-68F8FE597BCC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98DF9-8589-5317-CB91-FB1857A7C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1F0919-10DE-9B57-441F-EA8D8D1AC4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5E53412-9F98-4FF2-98AE-0E0A37F51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5776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8CE001-69BA-EBC8-0096-683983291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17930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8CE001-69BA-EBC8-0096-683983291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4261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70" r:id="rId5"/>
    <p:sldLayoutId id="2147483671" r:id="rId6"/>
    <p:sldLayoutId id="2147483666" r:id="rId7"/>
    <p:sldLayoutId id="2147483667" r:id="rId8"/>
    <p:sldLayoutId id="2147483668" r:id="rId9"/>
    <p:sldLayoutId id="2147483669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5253FCC-2E01-4F35-B307-5DAC72427A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53FCC-2E01-4F35-B307-5DAC72427A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building with a triangular shape&#10;&#10;AI-generated content may be incorrect.">
            <a:extLst>
              <a:ext uri="{FF2B5EF4-FFF2-40B4-BE49-F238E27FC236}">
                <a16:creationId xmlns:a16="http://schemas.microsoft.com/office/drawing/2014/main" id="{3A61BD6E-F79D-5C18-17D1-013CE4C7FD0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4044"/>
            <a:ext cx="12192000" cy="8126088"/>
          </a:xfrm>
          <a:prstGeom prst="rect">
            <a:avLst/>
          </a:prstGeom>
        </p:spPr>
      </p:pic>
      <p:sp>
        <p:nvSpPr>
          <p:cNvPr id="3" name="Flowchart: Manual Operation 4">
            <a:extLst>
              <a:ext uri="{FF2B5EF4-FFF2-40B4-BE49-F238E27FC236}">
                <a16:creationId xmlns:a16="http://schemas.microsoft.com/office/drawing/2014/main" id="{CA024204-94AF-6347-A915-53567D9CE7D8}"/>
              </a:ext>
            </a:extLst>
          </p:cNvPr>
          <p:cNvSpPr/>
          <p:nvPr/>
        </p:nvSpPr>
        <p:spPr>
          <a:xfrm rot="11297026">
            <a:off x="-1232744" y="-931870"/>
            <a:ext cx="7485034" cy="4300617"/>
          </a:xfrm>
          <a:prstGeom prst="flowChartManualOperation">
            <a:avLst/>
          </a:prstGeom>
          <a:solidFill>
            <a:srgbClr val="0A2B65">
              <a:alpha val="51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lowchart: Manual Operation 5">
            <a:extLst>
              <a:ext uri="{FF2B5EF4-FFF2-40B4-BE49-F238E27FC236}">
                <a16:creationId xmlns:a16="http://schemas.microsoft.com/office/drawing/2014/main" id="{F0DC8F19-0213-1E44-991F-A7C5AF1821E9}"/>
              </a:ext>
            </a:extLst>
          </p:cNvPr>
          <p:cNvSpPr/>
          <p:nvPr/>
        </p:nvSpPr>
        <p:spPr>
          <a:xfrm rot="9995555">
            <a:off x="-1125425" y="-1110861"/>
            <a:ext cx="7110385" cy="4300617"/>
          </a:xfrm>
          <a:prstGeom prst="flowChartManualOperation">
            <a:avLst/>
          </a:prstGeom>
          <a:solidFill>
            <a:srgbClr val="0A2B65">
              <a:alpha val="51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75E8FBC-CB8F-F644-BD07-D00960F74B91}"/>
              </a:ext>
            </a:extLst>
          </p:cNvPr>
          <p:cNvSpPr txBox="1"/>
          <p:nvPr/>
        </p:nvSpPr>
        <p:spPr>
          <a:xfrm>
            <a:off x="-19630" y="556718"/>
            <a:ext cx="52644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chemeClr val="bg1">
                    <a:lumMod val="95000"/>
                  </a:schemeClr>
                </a:solidFill>
              </a:rPr>
              <a:t>Group 3</a:t>
            </a:r>
            <a:r>
              <a:rPr lang="hu-HU" sz="4000" b="1">
                <a:solidFill>
                  <a:schemeClr val="bg1">
                    <a:lumMod val="95000"/>
                  </a:schemeClr>
                </a:solidFill>
              </a:rPr>
              <a:t> – </a:t>
            </a:r>
            <a:endParaRPr lang="de-AT" sz="4000" b="1">
              <a:solidFill>
                <a:schemeClr val="bg1">
                  <a:lumMod val="95000"/>
                </a:schemeClr>
              </a:solidFill>
            </a:endParaRPr>
          </a:p>
          <a:p>
            <a:r>
              <a:rPr lang="de-AT" sz="4000" b="1" err="1">
                <a:solidFill>
                  <a:schemeClr val="bg1">
                    <a:lumMod val="95000"/>
                  </a:schemeClr>
                </a:solidFill>
              </a:rPr>
              <a:t>Wine</a:t>
            </a:r>
            <a:r>
              <a:rPr lang="de-AT" sz="4000" b="1">
                <a:solidFill>
                  <a:schemeClr val="bg1">
                    <a:lumMod val="95000"/>
                  </a:schemeClr>
                </a:solidFill>
              </a:rPr>
              <a:t> Quality</a:t>
            </a:r>
            <a:endParaRPr lang="en-US" sz="4000" b="1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C847F1-C061-9F8F-8957-8C370FCD826E}"/>
              </a:ext>
            </a:extLst>
          </p:cNvPr>
          <p:cNvSpPr/>
          <p:nvPr/>
        </p:nvSpPr>
        <p:spPr>
          <a:xfrm>
            <a:off x="228600" y="1880157"/>
            <a:ext cx="4767943" cy="576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/>
              <a:t>By Tristan Leiter, Giulio Iepure</a:t>
            </a:r>
          </a:p>
        </p:txBody>
      </p:sp>
    </p:spTree>
    <p:extLst>
      <p:ext uri="{BB962C8B-B14F-4D97-AF65-F5344CB8AC3E}">
        <p14:creationId xmlns:p14="http://schemas.microsoft.com/office/powerpoint/2010/main" val="1672210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086"/>
    </mc:Choice>
    <mc:Fallback>
      <p:transition spd="slow" advTm="19086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787A51-920B-93C8-7003-90A96C04E4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err="1"/>
              <a:t>No</a:t>
            </a:r>
            <a:r>
              <a:rPr lang="de-DE"/>
              <a:t> dominant feature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identified</a:t>
            </a:r>
            <a:r>
              <a:rPr lang="de-DE"/>
              <a:t>, but all </a:t>
            </a:r>
            <a:r>
              <a:rPr lang="de-DE" err="1"/>
              <a:t>features</a:t>
            </a:r>
            <a:r>
              <a:rPr lang="de-DE"/>
              <a:t> </a:t>
            </a:r>
            <a:r>
              <a:rPr lang="de-DE" err="1"/>
              <a:t>seem</a:t>
            </a:r>
            <a:r>
              <a:rPr lang="de-DE"/>
              <a:t> to </a:t>
            </a:r>
            <a:r>
              <a:rPr lang="de-DE" err="1"/>
              <a:t>show</a:t>
            </a:r>
            <a:r>
              <a:rPr lang="de-DE"/>
              <a:t> at least some </a:t>
            </a:r>
            <a:r>
              <a:rPr lang="de-DE" err="1"/>
              <a:t>importance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526D9F-EF52-3AFF-1C16-4EDA854D2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Random Forest </a:t>
            </a:r>
            <a:r>
              <a:rPr lang="de-DE" err="1"/>
              <a:t>performance</a:t>
            </a:r>
            <a:r>
              <a:rPr lang="de-DE"/>
              <a:t>.</a:t>
            </a:r>
            <a:endParaRPr lang="de-CH"/>
          </a:p>
        </p:txBody>
      </p:sp>
      <p:pic>
        <p:nvPicPr>
          <p:cNvPr id="4" name="Grafik 3" descr="Ein Bild, das Text, Screenshot, Diagramm, Reihe enthält.&#10;&#10;KI-generierte Inhalte können fehlerhaft sein.">
            <a:extLst>
              <a:ext uri="{FF2B5EF4-FFF2-40B4-BE49-F238E27FC236}">
                <a16:creationId xmlns:a16="http://schemas.microsoft.com/office/drawing/2014/main" id="{6CC68D71-5895-EB71-43BF-E5A9FFFED3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374" y="1768324"/>
            <a:ext cx="6549060" cy="3201180"/>
          </a:xfrm>
          <a:prstGeom prst="rect">
            <a:avLst/>
          </a:prstGeom>
        </p:spPr>
      </p:pic>
      <p:grpSp>
        <p:nvGrpSpPr>
          <p:cNvPr id="5" name="Group 19">
            <a:extLst>
              <a:ext uri="{FF2B5EF4-FFF2-40B4-BE49-F238E27FC236}">
                <a16:creationId xmlns:a16="http://schemas.microsoft.com/office/drawing/2014/main" id="{96E2A7EA-26BD-D530-329C-812D0FE4B223}"/>
              </a:ext>
            </a:extLst>
          </p:cNvPr>
          <p:cNvGrpSpPr/>
          <p:nvPr/>
        </p:nvGrpSpPr>
        <p:grpSpPr>
          <a:xfrm>
            <a:off x="7258050" y="1083521"/>
            <a:ext cx="4608824" cy="303871"/>
            <a:chOff x="3700793" y="1095877"/>
            <a:chExt cx="8166087" cy="303871"/>
          </a:xfrm>
        </p:grpSpPr>
        <p:sp>
          <p:nvSpPr>
            <p:cNvPr id="6" name="Rectangle 13">
              <a:extLst>
                <a:ext uri="{FF2B5EF4-FFF2-40B4-BE49-F238E27FC236}">
                  <a16:creationId xmlns:a16="http://schemas.microsoft.com/office/drawing/2014/main" id="{68560BB0-E910-F259-16D5-05BB65D74CDA}"/>
                </a:ext>
              </a:extLst>
            </p:cNvPr>
            <p:cNvSpPr/>
            <p:nvPr/>
          </p:nvSpPr>
          <p:spPr>
            <a:xfrm>
              <a:off x="3700793" y="1095877"/>
              <a:ext cx="5579731" cy="288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>
                  <a:solidFill>
                    <a:sysClr val="windowText" lastClr="000000"/>
                  </a:solidFill>
                  <a:latin typeface="Google Sans Text"/>
                  <a:cs typeface="Arial" panose="020B0604020202020204" pitchFamily="34" charset="0"/>
                </a:rPr>
                <a:t>Key Insights:</a:t>
              </a:r>
            </a:p>
          </p:txBody>
        </p:sp>
        <p:cxnSp>
          <p:nvCxnSpPr>
            <p:cNvPr id="7" name="Straight Connector 14">
              <a:extLst>
                <a:ext uri="{FF2B5EF4-FFF2-40B4-BE49-F238E27FC236}">
                  <a16:creationId xmlns:a16="http://schemas.microsoft.com/office/drawing/2014/main" id="{EA64DCAF-560E-27D4-2B3F-FCF81F1579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9955" y="1375277"/>
              <a:ext cx="7966925" cy="24471"/>
            </a:xfrm>
            <a:prstGeom prst="line">
              <a:avLst/>
            </a:prstGeom>
            <a:ln w="19050">
              <a:gradFill>
                <a:gsLst>
                  <a:gs pos="0">
                    <a:schemeClr val="accent1"/>
                  </a:gs>
                  <a:gs pos="100000">
                    <a:schemeClr val="accent4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31">
            <a:extLst>
              <a:ext uri="{FF2B5EF4-FFF2-40B4-BE49-F238E27FC236}">
                <a16:creationId xmlns:a16="http://schemas.microsoft.com/office/drawing/2014/main" id="{536BA3DD-D715-042D-EDB4-6A97596FC64A}"/>
              </a:ext>
            </a:extLst>
          </p:cNvPr>
          <p:cNvSpPr/>
          <p:nvPr/>
        </p:nvSpPr>
        <p:spPr>
          <a:xfrm>
            <a:off x="7499679" y="1597613"/>
            <a:ext cx="4596173" cy="4907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ual_sugar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sity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400" b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_sulfur_dioxide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very important in our RF model.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ing these 3 features would decrease the model precision by 0.375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reated dummy variable </a:t>
            </a:r>
            <a:r>
              <a:rPr lang="en-GB" sz="1400" b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_white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little predictive power, yet its strength is derived from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on effects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inant feature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ingle feature is overly dominant. Wine quality is complex, which results from subtle interactions between many chemical properties and processes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32">
            <a:extLst>
              <a:ext uri="{FF2B5EF4-FFF2-40B4-BE49-F238E27FC236}">
                <a16:creationId xmlns:a16="http://schemas.microsoft.com/office/drawing/2014/main" id="{8499275B-693A-E65A-2959-5337ADA2D944}"/>
              </a:ext>
            </a:extLst>
          </p:cNvPr>
          <p:cNvCxnSpPr>
            <a:cxnSpLocks/>
          </p:cNvCxnSpPr>
          <p:nvPr/>
        </p:nvCxnSpPr>
        <p:spPr>
          <a:xfrm flipH="1">
            <a:off x="469374" y="1399559"/>
            <a:ext cx="6549060" cy="2593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3">
            <a:extLst>
              <a:ext uri="{FF2B5EF4-FFF2-40B4-BE49-F238E27FC236}">
                <a16:creationId xmlns:a16="http://schemas.microsoft.com/office/drawing/2014/main" id="{B60FCDEF-4FCB-4DBA-0ECE-1CEB60714DDC}"/>
              </a:ext>
            </a:extLst>
          </p:cNvPr>
          <p:cNvSpPr txBox="1"/>
          <p:nvPr/>
        </p:nvSpPr>
        <p:spPr>
          <a:xfrm>
            <a:off x="92328" y="1114866"/>
            <a:ext cx="2189844" cy="2846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400">
                <a:solidFill>
                  <a:srgbClr val="1A1C1E"/>
                </a:solidFill>
                <a:effectLst/>
                <a:latin typeface="Google Sans Text"/>
              </a:rPr>
              <a:t>Feature </a:t>
            </a:r>
            <a:r>
              <a:rPr lang="de-DE" sz="1400" err="1">
                <a:solidFill>
                  <a:srgbClr val="1A1C1E"/>
                </a:solidFill>
                <a:effectLst/>
                <a:latin typeface="Google Sans Text"/>
              </a:rPr>
              <a:t>importance</a:t>
            </a:r>
            <a:r>
              <a:rPr lang="de-DE" sz="1400">
                <a:solidFill>
                  <a:srgbClr val="1A1C1E"/>
                </a:solidFill>
                <a:effectLst/>
                <a:latin typeface="Google Sans Text"/>
              </a:rPr>
              <a:t>:</a:t>
            </a:r>
            <a:endParaRPr lang="en-US" sz="1400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D42B3E45-7799-407A-290C-438B68C71F97}"/>
              </a:ext>
            </a:extLst>
          </p:cNvPr>
          <p:cNvCxnSpPr/>
          <p:nvPr/>
        </p:nvCxnSpPr>
        <p:spPr>
          <a:xfrm>
            <a:off x="356196" y="5763331"/>
            <a:ext cx="11479608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2">
            <a:extLst>
              <a:ext uri="{FF2B5EF4-FFF2-40B4-BE49-F238E27FC236}">
                <a16:creationId xmlns:a16="http://schemas.microsoft.com/office/drawing/2014/main" id="{D99F3B65-9214-1F8C-6EE6-CC88290A8369}"/>
              </a:ext>
            </a:extLst>
          </p:cNvPr>
          <p:cNvCxnSpPr>
            <a:cxnSpLocks/>
          </p:cNvCxnSpPr>
          <p:nvPr/>
        </p:nvCxnSpPr>
        <p:spPr>
          <a:xfrm>
            <a:off x="7259056" y="1747157"/>
            <a:ext cx="0" cy="3687004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33">
            <a:extLst>
              <a:ext uri="{FF2B5EF4-FFF2-40B4-BE49-F238E27FC236}">
                <a16:creationId xmlns:a16="http://schemas.microsoft.com/office/drawing/2014/main" id="{F23EAF50-3641-E13E-E167-ED8EAED6F56F}"/>
              </a:ext>
            </a:extLst>
          </p:cNvPr>
          <p:cNvGrpSpPr/>
          <p:nvPr/>
        </p:nvGrpSpPr>
        <p:grpSpPr>
          <a:xfrm>
            <a:off x="7217418" y="3245348"/>
            <a:ext cx="120345" cy="297180"/>
            <a:chOff x="5986272" y="5021580"/>
            <a:chExt cx="120345" cy="297180"/>
          </a:xfrm>
        </p:grpSpPr>
        <p:sp>
          <p:nvSpPr>
            <p:cNvPr id="14" name="Rectangle 34">
              <a:extLst>
                <a:ext uri="{FF2B5EF4-FFF2-40B4-BE49-F238E27FC236}">
                  <a16:creationId xmlns:a16="http://schemas.microsoft.com/office/drawing/2014/main" id="{45A0EF70-70EC-9F61-4B16-C0A1AC3F147E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Arrow: Chevron 35">
              <a:extLst>
                <a:ext uri="{FF2B5EF4-FFF2-40B4-BE49-F238E27FC236}">
                  <a16:creationId xmlns:a16="http://schemas.microsoft.com/office/drawing/2014/main" id="{B3C48798-1DE6-9A59-2847-F785A17035DA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1774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FFAFB-0F61-08A2-2CD6-D6A479ADFD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1E21047-D2BE-AF58-1576-9DFFCDD28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The </a:t>
            </a:r>
            <a:r>
              <a:rPr lang="de-DE" err="1"/>
              <a:t>model</a:t>
            </a:r>
            <a:r>
              <a:rPr lang="de-DE"/>
              <a:t> does </a:t>
            </a:r>
            <a:r>
              <a:rPr lang="de-DE" err="1"/>
              <a:t>reasonably</a:t>
            </a:r>
            <a:r>
              <a:rPr lang="de-DE"/>
              <a:t> </a:t>
            </a:r>
            <a:r>
              <a:rPr lang="de-DE" err="1"/>
              <a:t>well</a:t>
            </a:r>
            <a:r>
              <a:rPr lang="de-DE"/>
              <a:t>, bu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erformanc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ail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worrying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6538FB-3B2A-AA0B-00D7-F496A5FA38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Random Forest </a:t>
            </a:r>
            <a:r>
              <a:rPr lang="de-DE" err="1"/>
              <a:t>performance</a:t>
            </a:r>
            <a:r>
              <a:rPr lang="de-DE"/>
              <a:t>.</a:t>
            </a:r>
            <a:endParaRPr lang="de-CH"/>
          </a:p>
        </p:txBody>
      </p:sp>
      <p:pic>
        <p:nvPicPr>
          <p:cNvPr id="16" name="Grafik 15" descr="Ein Bild, das Text,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A187766E-63DD-7204-CAA9-F75E0D1FD3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53" y="1227637"/>
            <a:ext cx="4698999" cy="4698999"/>
          </a:xfrm>
          <a:prstGeom prst="rect">
            <a:avLst/>
          </a:prstGeom>
        </p:spPr>
      </p:pic>
      <p:grpSp>
        <p:nvGrpSpPr>
          <p:cNvPr id="17" name="Group 19">
            <a:extLst>
              <a:ext uri="{FF2B5EF4-FFF2-40B4-BE49-F238E27FC236}">
                <a16:creationId xmlns:a16="http://schemas.microsoft.com/office/drawing/2014/main" id="{C222BCAE-1F66-6905-70F0-3B50F5BD3544}"/>
              </a:ext>
            </a:extLst>
          </p:cNvPr>
          <p:cNvGrpSpPr/>
          <p:nvPr/>
        </p:nvGrpSpPr>
        <p:grpSpPr>
          <a:xfrm>
            <a:off x="5467350" y="1083521"/>
            <a:ext cx="6399524" cy="303871"/>
            <a:chOff x="3700793" y="1095877"/>
            <a:chExt cx="8166087" cy="303871"/>
          </a:xfrm>
        </p:grpSpPr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2A4C805B-9C66-039B-DCE9-21145B96B7F4}"/>
                </a:ext>
              </a:extLst>
            </p:cNvPr>
            <p:cNvSpPr/>
            <p:nvPr/>
          </p:nvSpPr>
          <p:spPr>
            <a:xfrm>
              <a:off x="3700793" y="1095877"/>
              <a:ext cx="5579731" cy="288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>
                  <a:solidFill>
                    <a:sysClr val="windowText" lastClr="000000"/>
                  </a:solidFill>
                  <a:latin typeface="Google Sans Text"/>
                  <a:cs typeface="Arial" panose="020B0604020202020204" pitchFamily="34" charset="0"/>
                </a:rPr>
                <a:t>Key Insights:</a:t>
              </a:r>
            </a:p>
          </p:txBody>
        </p:sp>
        <p:cxnSp>
          <p:nvCxnSpPr>
            <p:cNvPr id="19" name="Straight Connector 14">
              <a:extLst>
                <a:ext uri="{FF2B5EF4-FFF2-40B4-BE49-F238E27FC236}">
                  <a16:creationId xmlns:a16="http://schemas.microsoft.com/office/drawing/2014/main" id="{9CE62E61-D840-A7B6-EB3F-3E041752FCD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9955" y="1375277"/>
              <a:ext cx="7966925" cy="24471"/>
            </a:xfrm>
            <a:prstGeom prst="line">
              <a:avLst/>
            </a:prstGeom>
            <a:ln w="19050">
              <a:gradFill>
                <a:gsLst>
                  <a:gs pos="0">
                    <a:schemeClr val="accent1"/>
                  </a:gs>
                  <a:gs pos="100000">
                    <a:schemeClr val="accent4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31">
            <a:extLst>
              <a:ext uri="{FF2B5EF4-FFF2-40B4-BE49-F238E27FC236}">
                <a16:creationId xmlns:a16="http://schemas.microsoft.com/office/drawing/2014/main" id="{54000707-CA5C-BE1B-6BD9-D2CCBB5EFA96}"/>
              </a:ext>
            </a:extLst>
          </p:cNvPr>
          <p:cNvSpPr/>
          <p:nvPr/>
        </p:nvSpPr>
        <p:spPr>
          <a:xfrm>
            <a:off x="6190571" y="1654763"/>
            <a:ext cx="5029363" cy="4907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odel has a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learning capability 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s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rly low confidence in predicting the classes 3,4 and 8 and 9.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ds to misclassify them, in some cases, on the other extreme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F model is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sonably good 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dentifying the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s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dle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ggle’s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urately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inguish</a:t>
            </a: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tween 5,6 and 7 but performs well if the true quality is 6. </a:t>
            </a:r>
          </a:p>
        </p:txBody>
      </p:sp>
      <p:cxnSp>
        <p:nvCxnSpPr>
          <p:cNvPr id="21" name="Straight Connector 32">
            <a:extLst>
              <a:ext uri="{FF2B5EF4-FFF2-40B4-BE49-F238E27FC236}">
                <a16:creationId xmlns:a16="http://schemas.microsoft.com/office/drawing/2014/main" id="{08617676-7018-D163-8E2A-844CC3A68621}"/>
              </a:ext>
            </a:extLst>
          </p:cNvPr>
          <p:cNvCxnSpPr>
            <a:cxnSpLocks/>
          </p:cNvCxnSpPr>
          <p:nvPr/>
        </p:nvCxnSpPr>
        <p:spPr>
          <a:xfrm>
            <a:off x="5303256" y="1747157"/>
            <a:ext cx="0" cy="3687004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33">
            <a:extLst>
              <a:ext uri="{FF2B5EF4-FFF2-40B4-BE49-F238E27FC236}">
                <a16:creationId xmlns:a16="http://schemas.microsoft.com/office/drawing/2014/main" id="{368DAFD5-69F2-16EE-D3CE-4AE8AE97CCA9}"/>
              </a:ext>
            </a:extLst>
          </p:cNvPr>
          <p:cNvGrpSpPr/>
          <p:nvPr/>
        </p:nvGrpSpPr>
        <p:grpSpPr>
          <a:xfrm>
            <a:off x="5261618" y="3245348"/>
            <a:ext cx="120345" cy="297180"/>
            <a:chOff x="5986272" y="5021580"/>
            <a:chExt cx="120345" cy="297180"/>
          </a:xfrm>
        </p:grpSpPr>
        <p:sp>
          <p:nvSpPr>
            <p:cNvPr id="23" name="Rectangle 34">
              <a:extLst>
                <a:ext uri="{FF2B5EF4-FFF2-40B4-BE49-F238E27FC236}">
                  <a16:creationId xmlns:a16="http://schemas.microsoft.com/office/drawing/2014/main" id="{D1843BBC-DCF6-0066-9870-FA7BC2E2041B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Arrow: Chevron 35">
              <a:extLst>
                <a:ext uri="{FF2B5EF4-FFF2-40B4-BE49-F238E27FC236}">
                  <a16:creationId xmlns:a16="http://schemas.microsoft.com/office/drawing/2014/main" id="{E6FFFA0B-7C0D-E912-DE7A-1B4B7A2ECC64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cxnSp>
        <p:nvCxnSpPr>
          <p:cNvPr id="25" name="Straight Connector 32">
            <a:extLst>
              <a:ext uri="{FF2B5EF4-FFF2-40B4-BE49-F238E27FC236}">
                <a16:creationId xmlns:a16="http://schemas.microsoft.com/office/drawing/2014/main" id="{2AF4E193-D75D-9087-C706-85DFC1D4E832}"/>
              </a:ext>
            </a:extLst>
          </p:cNvPr>
          <p:cNvCxnSpPr>
            <a:cxnSpLocks/>
          </p:cNvCxnSpPr>
          <p:nvPr/>
        </p:nvCxnSpPr>
        <p:spPr>
          <a:xfrm flipH="1">
            <a:off x="469374" y="1423839"/>
            <a:ext cx="4694478" cy="165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3">
            <a:extLst>
              <a:ext uri="{FF2B5EF4-FFF2-40B4-BE49-F238E27FC236}">
                <a16:creationId xmlns:a16="http://schemas.microsoft.com/office/drawing/2014/main" id="{70584F31-7910-0C1B-A594-CC8D6A194558}"/>
              </a:ext>
            </a:extLst>
          </p:cNvPr>
          <p:cNvSpPr txBox="1"/>
          <p:nvPr/>
        </p:nvSpPr>
        <p:spPr>
          <a:xfrm>
            <a:off x="9778" y="1114866"/>
            <a:ext cx="2189844" cy="2846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400" err="1">
                <a:solidFill>
                  <a:srgbClr val="1A1C1E"/>
                </a:solidFill>
                <a:effectLst/>
                <a:latin typeface="Google Sans Text"/>
              </a:rPr>
              <a:t>Confusion</a:t>
            </a:r>
            <a:r>
              <a:rPr lang="de-DE" sz="1400">
                <a:solidFill>
                  <a:srgbClr val="1A1C1E"/>
                </a:solidFill>
                <a:effectLst/>
                <a:latin typeface="Google Sans Text"/>
              </a:rPr>
              <a:t> Matrix:</a:t>
            </a:r>
            <a:endParaRPr lang="en-US" sz="1400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27" name="Straight Connector 9">
            <a:extLst>
              <a:ext uri="{FF2B5EF4-FFF2-40B4-BE49-F238E27FC236}">
                <a16:creationId xmlns:a16="http://schemas.microsoft.com/office/drawing/2014/main" id="{2127A4AD-9510-26F0-6BF3-F6E2B0E8FAB9}"/>
              </a:ext>
            </a:extLst>
          </p:cNvPr>
          <p:cNvCxnSpPr/>
          <p:nvPr/>
        </p:nvCxnSpPr>
        <p:spPr>
          <a:xfrm>
            <a:off x="356196" y="5763331"/>
            <a:ext cx="11479608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6985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D6AAA8-9435-0423-516F-7AA3773D2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6">
            <a:extLst>
              <a:ext uri="{FF2B5EF4-FFF2-40B4-BE49-F238E27FC236}">
                <a16:creationId xmlns:a16="http://schemas.microsoft.com/office/drawing/2014/main" id="{C8AC5C54-6FBC-E963-5751-69FD4CFB8220}"/>
              </a:ext>
            </a:extLst>
          </p:cNvPr>
          <p:cNvSpPr/>
          <p:nvPr/>
        </p:nvSpPr>
        <p:spPr>
          <a:xfrm>
            <a:off x="7798698" y="5156767"/>
            <a:ext cx="3405969" cy="1352039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3" name="Rectangle 6">
            <a:extLst>
              <a:ext uri="{FF2B5EF4-FFF2-40B4-BE49-F238E27FC236}">
                <a16:creationId xmlns:a16="http://schemas.microsoft.com/office/drawing/2014/main" id="{C7C0AA6F-C710-4722-DA45-F944E0DD9D43}"/>
              </a:ext>
            </a:extLst>
          </p:cNvPr>
          <p:cNvSpPr/>
          <p:nvPr/>
        </p:nvSpPr>
        <p:spPr>
          <a:xfrm>
            <a:off x="1682274" y="5189751"/>
            <a:ext cx="3405969" cy="1352039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FDA7D0C-8BCC-2B82-E30C-22F9C255FF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Final </a:t>
            </a:r>
            <a:r>
              <a:rPr lang="de-DE" err="1"/>
              <a:t>considerations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oor</a:t>
            </a:r>
            <a:r>
              <a:rPr lang="de-DE"/>
              <a:t> </a:t>
            </a:r>
            <a:r>
              <a:rPr lang="de-DE" err="1"/>
              <a:t>modeling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ail</a:t>
            </a:r>
            <a:r>
              <a:rPr lang="de-DE"/>
              <a:t> </a:t>
            </a:r>
            <a:r>
              <a:rPr lang="de-DE" err="1"/>
              <a:t>behavior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7F16B4-D9DE-BC04-079C-03A4FBA3A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Modeling </a:t>
            </a:r>
            <a:r>
              <a:rPr lang="de-DE" err="1"/>
              <a:t>performance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278B2A9F-A8F7-7915-D32D-176D06C2CC1E}"/>
              </a:ext>
            </a:extLst>
          </p:cNvPr>
          <p:cNvSpPr/>
          <p:nvPr/>
        </p:nvSpPr>
        <p:spPr>
          <a:xfrm>
            <a:off x="3864808" y="1166941"/>
            <a:ext cx="4529892" cy="410058"/>
          </a:xfrm>
          <a:prstGeom prst="rect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0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Arial" panose="020B0604020202020204" pitchFamily="34" charset="0"/>
                <a:cs typeface="Arial" panose="020B0604020202020204" pitchFamily="34" charset="0"/>
              </a:rPr>
              <a:t>UCI Dataset</a:t>
            </a:r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AF5468CB-E9DE-8A90-87BF-21F6175A2819}"/>
              </a:ext>
            </a:extLst>
          </p:cNvPr>
          <p:cNvSpPr/>
          <p:nvPr/>
        </p:nvSpPr>
        <p:spPr>
          <a:xfrm>
            <a:off x="3864808" y="1585878"/>
            <a:ext cx="4529892" cy="96206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riginal dataset is related to red and white variants of the Portuguese “Vinho Verde” wine.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famously imbalanced; the quality scores in the tail are much less represented than in the middle.</a:t>
            </a:r>
          </a:p>
        </p:txBody>
      </p:sp>
      <p:sp>
        <p:nvSpPr>
          <p:cNvPr id="13" name="Rectangle 28">
            <a:extLst>
              <a:ext uri="{FF2B5EF4-FFF2-40B4-BE49-F238E27FC236}">
                <a16:creationId xmlns:a16="http://schemas.microsoft.com/office/drawing/2014/main" id="{D4E52AC9-18F0-B7E5-C4FB-08435F61F5EC}"/>
              </a:ext>
            </a:extLst>
          </p:cNvPr>
          <p:cNvSpPr/>
          <p:nvPr/>
        </p:nvSpPr>
        <p:spPr>
          <a:xfrm>
            <a:off x="3864808" y="3261700"/>
            <a:ext cx="4529892" cy="41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0"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Arial" panose="020B0604020202020204" pitchFamily="34" charset="0"/>
                <a:cs typeface="Arial" panose="020B0604020202020204" pitchFamily="34" charset="0"/>
              </a:rPr>
              <a:t>Mutated Wine Quality Dataset (Kaggle)</a:t>
            </a:r>
          </a:p>
        </p:txBody>
      </p:sp>
      <p:sp>
        <p:nvSpPr>
          <p:cNvPr id="14" name="Rectangle 29">
            <a:extLst>
              <a:ext uri="{FF2B5EF4-FFF2-40B4-BE49-F238E27FC236}">
                <a16:creationId xmlns:a16="http://schemas.microsoft.com/office/drawing/2014/main" id="{E28967D1-2097-96B3-A88B-F4E3548AF365}"/>
              </a:ext>
            </a:extLst>
          </p:cNvPr>
          <p:cNvSpPr/>
          <p:nvPr/>
        </p:nvSpPr>
        <p:spPr>
          <a:xfrm>
            <a:off x="3864808" y="3656059"/>
            <a:ext cx="4529892" cy="112549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ataset on Kaggle was mutated; using </a:t>
            </a:r>
            <a:r>
              <a:rPr lang="en-GB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GAN</a:t>
            </a:r>
            <a:r>
              <a:rPr lang="en-GB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ynthetically create more data (especially for the less frequent observations).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us, the dataset was balanced…but it likely diminished the quality of the dataset.</a:t>
            </a:r>
          </a:p>
        </p:txBody>
      </p:sp>
      <p:sp>
        <p:nvSpPr>
          <p:cNvPr id="29" name="Arrow: Chevron 36">
            <a:extLst>
              <a:ext uri="{FF2B5EF4-FFF2-40B4-BE49-F238E27FC236}">
                <a16:creationId xmlns:a16="http://schemas.microsoft.com/office/drawing/2014/main" id="{78D76B13-AE7D-5EB9-8631-3C58746E150D}"/>
              </a:ext>
            </a:extLst>
          </p:cNvPr>
          <p:cNvSpPr/>
          <p:nvPr/>
        </p:nvSpPr>
        <p:spPr>
          <a:xfrm rot="5400000">
            <a:off x="5966778" y="2612329"/>
            <a:ext cx="233680" cy="42225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TextBox 3">
            <a:extLst>
              <a:ext uri="{FF2B5EF4-FFF2-40B4-BE49-F238E27FC236}">
                <a16:creationId xmlns:a16="http://schemas.microsoft.com/office/drawing/2014/main" id="{25ED6B68-E828-D295-A5B3-0EBADF3AEF4E}"/>
              </a:ext>
            </a:extLst>
          </p:cNvPr>
          <p:cNvSpPr txBox="1"/>
          <p:nvPr/>
        </p:nvSpPr>
        <p:spPr>
          <a:xfrm>
            <a:off x="1825206" y="5451562"/>
            <a:ext cx="3240000" cy="11236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It appears that the synthetic data does not resemble the underlying data generating process well.</a:t>
            </a:r>
          </a:p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Likely the synthetic data adds noise and/or decreases our signal/noise ratio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32" name="TextBox 3">
            <a:extLst>
              <a:ext uri="{FF2B5EF4-FFF2-40B4-BE49-F238E27FC236}">
                <a16:creationId xmlns:a16="http://schemas.microsoft.com/office/drawing/2014/main" id="{2C5D9D65-92E7-AD52-BD05-330C905C64E3}"/>
              </a:ext>
            </a:extLst>
          </p:cNvPr>
          <p:cNvSpPr txBox="1"/>
          <p:nvPr/>
        </p:nvSpPr>
        <p:spPr>
          <a:xfrm>
            <a:off x="1682274" y="517590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Questionable</a:t>
            </a:r>
            <a:r>
              <a:rPr lang="de-DE" sz="1200" b="1">
                <a:latin typeface="Google Sans Text"/>
              </a:rPr>
              <a:t> Tail </a:t>
            </a:r>
            <a:r>
              <a:rPr lang="de-DE" sz="1200" b="1" err="1">
                <a:latin typeface="Google Sans Text"/>
              </a:rPr>
              <a:t>behavior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34" name="TextBox 3">
            <a:extLst>
              <a:ext uri="{FF2B5EF4-FFF2-40B4-BE49-F238E27FC236}">
                <a16:creationId xmlns:a16="http://schemas.microsoft.com/office/drawing/2014/main" id="{8D79E466-3B29-B95D-848A-F71E8921E9DB}"/>
              </a:ext>
            </a:extLst>
          </p:cNvPr>
          <p:cNvSpPr txBox="1"/>
          <p:nvPr/>
        </p:nvSpPr>
        <p:spPr>
          <a:xfrm>
            <a:off x="7888033" y="5466423"/>
            <a:ext cx="3240000" cy="85433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Furthermore, binning the quality levels could be beneficial (“poor”, “average” and “good”) to focus on which characteristics of the data truly distinguish our outcomes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35" name="TextBox 3">
            <a:extLst>
              <a:ext uri="{FF2B5EF4-FFF2-40B4-BE49-F238E27FC236}">
                <a16:creationId xmlns:a16="http://schemas.microsoft.com/office/drawing/2014/main" id="{DB4291C4-E75A-C58B-05B9-E57AE09B8034}"/>
              </a:ext>
            </a:extLst>
          </p:cNvPr>
          <p:cNvSpPr txBox="1"/>
          <p:nvPr/>
        </p:nvSpPr>
        <p:spPr>
          <a:xfrm>
            <a:off x="7719701" y="5190770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Binning</a:t>
            </a:r>
            <a:r>
              <a:rPr lang="de-DE" sz="1200" b="1">
                <a:latin typeface="Google Sans Text"/>
              </a:rPr>
              <a:t> </a:t>
            </a:r>
            <a:r>
              <a:rPr lang="de-DE" sz="1200" b="1" err="1">
                <a:latin typeface="Google Sans Text"/>
              </a:rPr>
              <a:t>the</a:t>
            </a:r>
            <a:r>
              <a:rPr lang="de-DE" sz="1200" b="1">
                <a:latin typeface="Google Sans Text"/>
              </a:rPr>
              <a:t> </a:t>
            </a:r>
            <a:r>
              <a:rPr lang="de-DE" sz="1200" b="1" err="1">
                <a:latin typeface="Google Sans Text"/>
              </a:rPr>
              <a:t>quality</a:t>
            </a:r>
            <a:r>
              <a:rPr lang="de-DE" sz="1200" b="1">
                <a:latin typeface="Google Sans Text"/>
              </a:rPr>
              <a:t> </a:t>
            </a:r>
            <a:r>
              <a:rPr lang="de-DE" sz="1200" b="1" err="1">
                <a:latin typeface="Google Sans Text"/>
              </a:rPr>
              <a:t>levels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38" name="Verbinder: gewinkelt 37">
            <a:extLst>
              <a:ext uri="{FF2B5EF4-FFF2-40B4-BE49-F238E27FC236}">
                <a16:creationId xmlns:a16="http://schemas.microsoft.com/office/drawing/2014/main" id="{5CB6779E-6AA3-7817-4C81-A70044F14CE3}"/>
              </a:ext>
            </a:extLst>
          </p:cNvPr>
          <p:cNvCxnSpPr>
            <a:cxnSpLocks/>
            <a:stCxn id="14" idx="1"/>
          </p:cNvCxnSpPr>
          <p:nvPr/>
        </p:nvCxnSpPr>
        <p:spPr>
          <a:xfrm rot="10800000" flipV="1">
            <a:off x="3009900" y="4218805"/>
            <a:ext cx="854908" cy="937962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Verbinder: gewinkelt 39">
            <a:extLst>
              <a:ext uri="{FF2B5EF4-FFF2-40B4-BE49-F238E27FC236}">
                <a16:creationId xmlns:a16="http://schemas.microsoft.com/office/drawing/2014/main" id="{8F46D5DD-4515-18AC-F1B5-C6477E7AE6A1}"/>
              </a:ext>
            </a:extLst>
          </p:cNvPr>
          <p:cNvCxnSpPr>
            <a:cxnSpLocks/>
            <a:stCxn id="14" idx="3"/>
            <a:endCxn id="36" idx="0"/>
          </p:cNvCxnSpPr>
          <p:nvPr/>
        </p:nvCxnSpPr>
        <p:spPr>
          <a:xfrm>
            <a:off x="8394700" y="4218805"/>
            <a:ext cx="1106983" cy="937962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0473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1571F-782B-D59B-D07C-7186BFA537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Screenshot, Diagramm, Reihe enthält.&#10;&#10;KI-generierte Inhalte können fehlerhaft sein.">
            <a:extLst>
              <a:ext uri="{FF2B5EF4-FFF2-40B4-BE49-F238E27FC236}">
                <a16:creationId xmlns:a16="http://schemas.microsoft.com/office/drawing/2014/main" id="{D1447395-51D9-D314-EA99-4F7C2696C4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695" y="1710368"/>
            <a:ext cx="5241086" cy="3773582"/>
          </a:xfrm>
          <a:prstGeom prst="rect">
            <a:avLst/>
          </a:prstGeom>
        </p:spPr>
      </p:pic>
      <p:sp>
        <p:nvSpPr>
          <p:cNvPr id="4" name="Rectangle 6">
            <a:extLst>
              <a:ext uri="{FF2B5EF4-FFF2-40B4-BE49-F238E27FC236}">
                <a16:creationId xmlns:a16="http://schemas.microsoft.com/office/drawing/2014/main" id="{1717E7DD-FDF2-7490-3A0C-00CDDB4F29D8}"/>
              </a:ext>
            </a:extLst>
          </p:cNvPr>
          <p:cNvSpPr/>
          <p:nvPr/>
        </p:nvSpPr>
        <p:spPr>
          <a:xfrm>
            <a:off x="-63500" y="1255883"/>
            <a:ext cx="12255500" cy="5175397"/>
          </a:xfrm>
          <a:prstGeom prst="rect">
            <a:avLst/>
          </a:prstGeom>
          <a:solidFill>
            <a:srgbClr val="B7CEF7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264A311-4750-2940-7924-3C7746CB42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Model </a:t>
            </a:r>
            <a:r>
              <a:rPr lang="de-DE" err="1"/>
              <a:t>performance</a:t>
            </a:r>
            <a:r>
              <a:rPr lang="de-DE"/>
              <a:t> </a:t>
            </a:r>
            <a:r>
              <a:rPr lang="de-DE" err="1"/>
              <a:t>including</a:t>
            </a:r>
            <a:r>
              <a:rPr lang="de-DE"/>
              <a:t> </a:t>
            </a:r>
            <a:r>
              <a:rPr lang="de-DE" err="1"/>
              <a:t>CatBoost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565257-A3BF-CBE2-FB5D-8DEC139930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Extension with </a:t>
            </a:r>
            <a:r>
              <a:rPr lang="de-DE" err="1"/>
              <a:t>CatBoost</a:t>
            </a:r>
            <a:r>
              <a:rPr lang="de-DE"/>
              <a:t>.</a:t>
            </a:r>
            <a:endParaRPr lang="de-CH"/>
          </a:p>
        </p:txBody>
      </p:sp>
      <p:cxnSp>
        <p:nvCxnSpPr>
          <p:cNvPr id="7" name="Straight Connector 14">
            <a:extLst>
              <a:ext uri="{FF2B5EF4-FFF2-40B4-BE49-F238E27FC236}">
                <a16:creationId xmlns:a16="http://schemas.microsoft.com/office/drawing/2014/main" id="{1D3B2FE0-9511-6D9C-09E9-2DAFD7D4EDE8}"/>
              </a:ext>
            </a:extLst>
          </p:cNvPr>
          <p:cNvCxnSpPr>
            <a:cxnSpLocks/>
          </p:cNvCxnSpPr>
          <p:nvPr/>
        </p:nvCxnSpPr>
        <p:spPr>
          <a:xfrm flipV="1">
            <a:off x="6864350" y="1502621"/>
            <a:ext cx="5002524" cy="56705"/>
          </a:xfrm>
          <a:prstGeom prst="lin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32">
            <a:extLst>
              <a:ext uri="{FF2B5EF4-FFF2-40B4-BE49-F238E27FC236}">
                <a16:creationId xmlns:a16="http://schemas.microsoft.com/office/drawing/2014/main" id="{25C826BE-16A0-B0F1-2F6E-909D2208BC5A}"/>
              </a:ext>
            </a:extLst>
          </p:cNvPr>
          <p:cNvCxnSpPr>
            <a:cxnSpLocks/>
          </p:cNvCxnSpPr>
          <p:nvPr/>
        </p:nvCxnSpPr>
        <p:spPr>
          <a:xfrm flipH="1" flipV="1">
            <a:off x="469374" y="1565192"/>
            <a:ext cx="5791726" cy="1216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3">
            <a:extLst>
              <a:ext uri="{FF2B5EF4-FFF2-40B4-BE49-F238E27FC236}">
                <a16:creationId xmlns:a16="http://schemas.microsoft.com/office/drawing/2014/main" id="{50638946-1791-2110-8234-6210D78AC823}"/>
              </a:ext>
            </a:extLst>
          </p:cNvPr>
          <p:cNvSpPr txBox="1"/>
          <p:nvPr/>
        </p:nvSpPr>
        <p:spPr>
          <a:xfrm>
            <a:off x="320928" y="1292666"/>
            <a:ext cx="2189844" cy="2846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400">
                <a:latin typeface="Google Sans Text"/>
              </a:rPr>
              <a:t>Performance </a:t>
            </a:r>
            <a:r>
              <a:rPr lang="de-DE" sz="1400" err="1">
                <a:latin typeface="Google Sans Text"/>
              </a:rPr>
              <a:t>Comparison</a:t>
            </a:r>
            <a:r>
              <a:rPr lang="de-DE" sz="1400">
                <a:latin typeface="Google Sans Text"/>
              </a:rPr>
              <a:t>:</a:t>
            </a:r>
            <a:endParaRPr lang="en-US" sz="1400">
              <a:solidFill>
                <a:srgbClr val="1A1C1E"/>
              </a:solidFill>
              <a:latin typeface="Google Sans Text"/>
            </a:endParaRPr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CAAD9A4C-5AF8-72B6-7DB0-B7F02EEEAC4F}"/>
              </a:ext>
            </a:extLst>
          </p:cNvPr>
          <p:cNvCxnSpPr/>
          <p:nvPr/>
        </p:nvCxnSpPr>
        <p:spPr>
          <a:xfrm>
            <a:off x="356196" y="5763331"/>
            <a:ext cx="11479608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2">
            <a:extLst>
              <a:ext uri="{FF2B5EF4-FFF2-40B4-BE49-F238E27FC236}">
                <a16:creationId xmlns:a16="http://schemas.microsoft.com/office/drawing/2014/main" id="{50E5F676-B951-E1FB-F37E-A5A35F41563F}"/>
              </a:ext>
            </a:extLst>
          </p:cNvPr>
          <p:cNvCxnSpPr>
            <a:cxnSpLocks/>
          </p:cNvCxnSpPr>
          <p:nvPr/>
        </p:nvCxnSpPr>
        <p:spPr>
          <a:xfrm>
            <a:off x="6471656" y="1747157"/>
            <a:ext cx="0" cy="3687004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3">
            <a:extLst>
              <a:ext uri="{FF2B5EF4-FFF2-40B4-BE49-F238E27FC236}">
                <a16:creationId xmlns:a16="http://schemas.microsoft.com/office/drawing/2014/main" id="{82438D33-03E4-F6B6-26CE-AE1D1EE5C887}"/>
              </a:ext>
            </a:extLst>
          </p:cNvPr>
          <p:cNvSpPr txBox="1"/>
          <p:nvPr/>
        </p:nvSpPr>
        <p:spPr>
          <a:xfrm>
            <a:off x="6777134" y="1270599"/>
            <a:ext cx="218984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ysClr val="windowText" lastClr="000000"/>
                </a:solidFill>
                <a:latin typeface="Google Sans Text"/>
                <a:cs typeface="Arial" panose="020B0604020202020204" pitchFamily="34" charset="0"/>
              </a:rPr>
              <a:t>Key Insights:</a:t>
            </a:r>
          </a:p>
        </p:txBody>
      </p:sp>
      <p:sp>
        <p:nvSpPr>
          <p:cNvPr id="17" name="Rectangle 31">
            <a:extLst>
              <a:ext uri="{FF2B5EF4-FFF2-40B4-BE49-F238E27FC236}">
                <a16:creationId xmlns:a16="http://schemas.microsoft.com/office/drawing/2014/main" id="{906810B7-4895-2980-7BE1-92B896FE8F06}"/>
              </a:ext>
            </a:extLst>
          </p:cNvPr>
          <p:cNvSpPr/>
          <p:nvPr/>
        </p:nvSpPr>
        <p:spPr>
          <a:xfrm>
            <a:off x="6864350" y="1605342"/>
            <a:ext cx="4432081" cy="4907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 is still the winner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a Macro F1-score of 0.592, the Random Forest model shows a moderate predictive power.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performs much better than random guessing but is not yet highly accurate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Boost</a:t>
            </a: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ts fairly close!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est-score of 0.585 is very close to the one of the RF-model (0.592). 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’s conceptually similar to GBM, but has, amongst others, a built in Ordered-Boosting feature, which acts as a regularization tool to prevent our model from learning from the weird synthetic data (in the edge-cases).</a:t>
            </a: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id="{8D698535-A405-F90D-7138-974D915C8E49}"/>
              </a:ext>
            </a:extLst>
          </p:cNvPr>
          <p:cNvSpPr/>
          <p:nvPr/>
        </p:nvSpPr>
        <p:spPr>
          <a:xfrm>
            <a:off x="2847685" y="5844424"/>
            <a:ext cx="7178965" cy="562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 </a:t>
            </a:r>
            <a:r>
              <a:rPr lang="en-GB" sz="1600" b="1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Boost</a:t>
            </a:r>
            <a:r>
              <a:rPr lang="en-GB"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not enhance our predictive power. </a:t>
            </a:r>
            <a:br>
              <a:rPr lang="en-GB"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we are close to the best result on Kaggle (which uses accuracy)!</a:t>
            </a:r>
          </a:p>
        </p:txBody>
      </p:sp>
      <p:sp>
        <p:nvSpPr>
          <p:cNvPr id="22" name="Flussdiagramm: Auszug 21">
            <a:extLst>
              <a:ext uri="{FF2B5EF4-FFF2-40B4-BE49-F238E27FC236}">
                <a16:creationId xmlns:a16="http://schemas.microsoft.com/office/drawing/2014/main" id="{4A4FF10E-AC36-5A08-6754-D280405F790A}"/>
              </a:ext>
            </a:extLst>
          </p:cNvPr>
          <p:cNvSpPr/>
          <p:nvPr/>
        </p:nvSpPr>
        <p:spPr>
          <a:xfrm rot="5400000">
            <a:off x="6488208" y="3314746"/>
            <a:ext cx="234950" cy="241298"/>
          </a:xfrm>
          <a:prstGeom prst="flowChartExtra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32060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1D70A-E790-C75D-4D33-442124C11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3419AD-62CE-9DF4-4180-9AE9376531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Feature </a:t>
            </a:r>
            <a:r>
              <a:rPr lang="de-DE" err="1"/>
              <a:t>distribution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DE7A4A16-9116-47F0-F9DB-04FB46730205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pic>
        <p:nvPicPr>
          <p:cNvPr id="6" name="Grafik 5" descr="Ein Bild, das Screenshot, Diagramm, Reihe, Design enthält.&#10;&#10;KI-generierte Inhalte können fehlerhaft sein.">
            <a:extLst>
              <a:ext uri="{FF2B5EF4-FFF2-40B4-BE49-F238E27FC236}">
                <a16:creationId xmlns:a16="http://schemas.microsoft.com/office/drawing/2014/main" id="{7DE260F4-CD5E-2989-6614-5AAFE90EF6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15" y="1099751"/>
            <a:ext cx="10743263" cy="5251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3804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27515-4765-C566-BC6A-23D78A29B4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CA4F18-018D-77E4-70A5-A86230460B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Multicollinearity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D7621B37-ED8D-0EF0-8C8F-D9A73A87D36B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pic>
        <p:nvPicPr>
          <p:cNvPr id="5" name="Grafik 4" descr="Ein Bild, das Screenshot, Pixel, Design, Kunst enthält.&#10;&#10;KI-generierte Inhalte können fehlerhaft sein.">
            <a:extLst>
              <a:ext uri="{FF2B5EF4-FFF2-40B4-BE49-F238E27FC236}">
                <a16:creationId xmlns:a16="http://schemas.microsoft.com/office/drawing/2014/main" id="{F636A858-12FF-7126-517C-123B4342E5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715" y="1218844"/>
            <a:ext cx="10464125" cy="5114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47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6DD4FA-72A4-5A20-7B69-4FB51E7BD6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B0EF84-5C4A-368D-12B4-54E32F1E78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Informational</a:t>
            </a:r>
            <a:r>
              <a:rPr lang="de-DE"/>
              <a:t> Value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E6358520-A049-1F4F-5541-0FA7F01C23EB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pic>
        <p:nvPicPr>
          <p:cNvPr id="6" name="Grafik 5" descr="Ein Bild, das Screenshot, Reihe, parallel, Diagramm enthält.&#10;&#10;KI-generierte Inhalte können fehlerhaft sein.">
            <a:extLst>
              <a:ext uri="{FF2B5EF4-FFF2-40B4-BE49-F238E27FC236}">
                <a16:creationId xmlns:a16="http://schemas.microsoft.com/office/drawing/2014/main" id="{5B816DA8-D749-22C9-0041-45F4B1345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69" y="873653"/>
            <a:ext cx="10864861" cy="531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947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D9F69-0292-0D8A-7D0D-ADB838455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846C4A-6653-D9F0-4A67-587273D7D7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ummy variable </a:t>
            </a:r>
            <a:r>
              <a:rPr lang="de-DE" err="1"/>
              <a:t>wine</a:t>
            </a:r>
            <a:r>
              <a:rPr lang="de-DE"/>
              <a:t> type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3F6D55A-61DC-6CAE-AC13-02B022A20F25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522743A1-3C34-5219-C453-464008585D56}"/>
              </a:ext>
            </a:extLst>
          </p:cNvPr>
          <p:cNvSpPr txBox="1"/>
          <p:nvPr/>
        </p:nvSpPr>
        <p:spPr>
          <a:xfrm>
            <a:off x="1480671" y="116031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1. Clustering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4606940A-E500-E9F6-2FD0-D86AD5AA3069}"/>
              </a:ext>
            </a:extLst>
          </p:cNvPr>
          <p:cNvSpPr txBox="1"/>
          <p:nvPr/>
        </p:nvSpPr>
        <p:spPr>
          <a:xfrm>
            <a:off x="952501" y="1384452"/>
            <a:ext cx="3517897" cy="4644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We partition the data into two distinct groups via K-means clustering (k=2).</a:t>
            </a:r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E6C380B7-C0C3-9A0A-F72C-28C158C7ECA3}"/>
              </a:ext>
            </a:extLst>
          </p:cNvPr>
          <p:cNvSpPr txBox="1"/>
          <p:nvPr/>
        </p:nvSpPr>
        <p:spPr>
          <a:xfrm>
            <a:off x="1480671" y="196134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2. Feature selec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60D3A0C1-B48E-1ECC-208C-22D149B2A110}"/>
              </a:ext>
            </a:extLst>
          </p:cNvPr>
          <p:cNvSpPr txBox="1"/>
          <p:nvPr/>
        </p:nvSpPr>
        <p:spPr>
          <a:xfrm>
            <a:off x="952501" y="2185482"/>
            <a:ext cx="3517897" cy="104156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The most differentiating features (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total_sulfur_dioxide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, chlorides and 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volatile_acidity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) are selected for clustering and separation. Prior to that, the data was scaled to prevent an overarching influence from one variable with greater ranges than the others.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4157DADF-9A8A-AC28-290C-E9B59DF955AA}"/>
              </a:ext>
            </a:extLst>
          </p:cNvPr>
          <p:cNvSpPr txBox="1"/>
          <p:nvPr/>
        </p:nvSpPr>
        <p:spPr>
          <a:xfrm>
            <a:off x="1490831" y="3287940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3. Cluster </a:t>
            </a:r>
            <a:r>
              <a:rPr lang="de-DE" sz="1200" b="1" err="1">
                <a:latin typeface="Google Sans Text"/>
              </a:rPr>
              <a:t>identifica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340B55E9-4323-F197-793B-2A318C77EA7D}"/>
              </a:ext>
            </a:extLst>
          </p:cNvPr>
          <p:cNvSpPr txBox="1"/>
          <p:nvPr/>
        </p:nvSpPr>
        <p:spPr>
          <a:xfrm>
            <a:off x="962661" y="3512074"/>
            <a:ext cx="3517897" cy="65684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The cluster with a high mean of 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total_sulfur_dioxide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 and low mean chlorides was identified as a white wine and vice versa as a red wine.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CFA8FB50-5190-5C0C-4837-DCA92600B1AA}"/>
              </a:ext>
            </a:extLst>
          </p:cNvPr>
          <p:cNvSpPr txBox="1"/>
          <p:nvPr/>
        </p:nvSpPr>
        <p:spPr>
          <a:xfrm>
            <a:off x="1490831" y="4414090"/>
            <a:ext cx="2189844" cy="2772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4. Variable </a:t>
            </a:r>
            <a:r>
              <a:rPr lang="de-DE" sz="1200" b="1" err="1">
                <a:latin typeface="Google Sans Text"/>
              </a:rPr>
              <a:t>engineering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5D01AD6C-DF0A-2B57-4DAC-57130A953CF0}"/>
              </a:ext>
            </a:extLst>
          </p:cNvPr>
          <p:cNvSpPr txBox="1"/>
          <p:nvPr/>
        </p:nvSpPr>
        <p:spPr>
          <a:xfrm>
            <a:off x="962661" y="4638224"/>
            <a:ext cx="3517897" cy="4644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A new binary variable is created, indicating white wine (=1) or red wine (=0).</a:t>
            </a:r>
          </a:p>
        </p:txBody>
      </p:sp>
    </p:spTree>
    <p:extLst>
      <p:ext uri="{BB962C8B-B14F-4D97-AF65-F5344CB8AC3E}">
        <p14:creationId xmlns:p14="http://schemas.microsoft.com/office/powerpoint/2010/main" val="9133240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C4A2D7-2735-04D2-7642-2CD4F4AD44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2F730ED7-53F3-D231-A9FD-F35B80242A00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8B04C2F3-651E-A37F-D6D5-DBE10D174364}"/>
              </a:ext>
            </a:extLst>
          </p:cNvPr>
          <p:cNvSpPr/>
          <p:nvPr/>
        </p:nvSpPr>
        <p:spPr>
          <a:xfrm>
            <a:off x="301624" y="1209333"/>
            <a:ext cx="5562905" cy="1772334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5DE670-4F2A-6E18-4526-AB2F47A93F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Performance and feature selection </a:t>
            </a:r>
            <a:r>
              <a:rPr lang="de-DE" err="1"/>
              <a:t>for</a:t>
            </a:r>
            <a:r>
              <a:rPr lang="de-DE"/>
              <a:t> Lasso and Ridge </a:t>
            </a:r>
            <a:r>
              <a:rPr lang="de-DE" err="1"/>
              <a:t>regression</a:t>
            </a:r>
            <a:r>
              <a:rPr lang="de-DE"/>
              <a:t>.</a:t>
            </a:r>
            <a:endParaRPr lang="de-CH"/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7F7F7B7D-2C1E-DF5D-0B58-0495DE195DFC}"/>
              </a:ext>
            </a:extLst>
          </p:cNvPr>
          <p:cNvSpPr txBox="1"/>
          <p:nvPr/>
        </p:nvSpPr>
        <p:spPr>
          <a:xfrm>
            <a:off x="410028" y="1367761"/>
            <a:ext cx="3977822" cy="12464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rgbClr val="1A1C1E"/>
                </a:solidFill>
                <a:effectLst/>
                <a:latin typeface="Google Sans Text"/>
              </a:rPr>
              <a:t>Acccuracy</a:t>
            </a: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 for cross-validation across a range of lambda values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 i="1">
                <a:solidFill>
                  <a:srgbClr val="1A1C1E"/>
                </a:solidFill>
                <a:latin typeface="Google Sans Text"/>
              </a:rPr>
              <a:t>Selecting the right model (comparing Lasso vs RF) with Macro F1-scor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 i="1">
                <a:solidFill>
                  <a:srgbClr val="1A1C1E"/>
                </a:solidFill>
                <a:effectLst/>
                <a:latin typeface="Google Sans Text"/>
              </a:rPr>
              <a:t>Macro F1-score and Accuracy are highly correlated with a balanced dataset.</a:t>
            </a:r>
            <a:endParaRPr lang="en-US" sz="1200" i="1">
              <a:solidFill>
                <a:srgbClr val="1A1C1E"/>
              </a:solidFill>
              <a:effectLst/>
              <a:latin typeface="Google Sans Text"/>
            </a:endParaRPr>
          </a:p>
        </p:txBody>
      </p:sp>
      <p:pic>
        <p:nvPicPr>
          <p:cNvPr id="7" name="Grafik 6" descr="Ein Bild, das Text, Diagramm, Reihe, parallel enthält.&#10;&#10;KI-generierte Inhalte können fehlerhaft sein.">
            <a:extLst>
              <a:ext uri="{FF2B5EF4-FFF2-40B4-BE49-F238E27FC236}">
                <a16:creationId xmlns:a16="http://schemas.microsoft.com/office/drawing/2014/main" id="{90C7EBA9-2508-D153-AF3C-C323832375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74" y="3190491"/>
            <a:ext cx="6202872" cy="303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290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188E49-EAEF-9768-B6B2-7AE31B223C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E218238A-B067-24E5-09B1-088B925E2819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7308B706-41F8-9722-450B-435D575461E0}"/>
              </a:ext>
            </a:extLst>
          </p:cNvPr>
          <p:cNvSpPr/>
          <p:nvPr/>
        </p:nvSpPr>
        <p:spPr>
          <a:xfrm>
            <a:off x="301624" y="1209332"/>
            <a:ext cx="5562905" cy="2366725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35D22A-5783-F562-945D-9A5F80AE8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Performance and feature selection </a:t>
            </a:r>
            <a:r>
              <a:rPr lang="de-DE" err="1"/>
              <a:t>for</a:t>
            </a:r>
            <a:r>
              <a:rPr lang="de-DE"/>
              <a:t> RF.</a:t>
            </a:r>
            <a:endParaRPr lang="de-CH"/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CD0AA404-1C84-8921-0963-9A72AFC467B8}"/>
              </a:ext>
            </a:extLst>
          </p:cNvPr>
          <p:cNvSpPr txBox="1"/>
          <p:nvPr/>
        </p:nvSpPr>
        <p:spPr>
          <a:xfrm>
            <a:off x="410028" y="1367761"/>
            <a:ext cx="5349422" cy="201593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Internal loss measure for optimization is done on </a:t>
            </a:r>
            <a:r>
              <a:rPr lang="en-US" sz="1400" err="1">
                <a:solidFill>
                  <a:srgbClr val="1A1C1E"/>
                </a:solidFill>
                <a:effectLst/>
                <a:latin typeface="Google Sans Text"/>
              </a:rPr>
              <a:t>gini</a:t>
            </a: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 impurity on each split, default for classification in the ranger packag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Optimization to minimize multinomial devianc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Cross-validation: Hyperparameter grid-search tunes to maximize the mean macro F1-score across the folds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Final evaluation is done on macro F1-scor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n-US" sz="1400">
              <a:solidFill>
                <a:srgbClr val="1A1C1E"/>
              </a:solidFill>
              <a:latin typeface="Google Sans Text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Teste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d hyperparameters: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Number of variables to sample at each split: 2,3,5, and 6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Min. size of a terminal node: 1,3,5 and 7.</a:t>
            </a:r>
          </a:p>
        </p:txBody>
      </p:sp>
    </p:spTree>
    <p:extLst>
      <p:ext uri="{BB962C8B-B14F-4D97-AF65-F5344CB8AC3E}">
        <p14:creationId xmlns:p14="http://schemas.microsoft.com/office/powerpoint/2010/main" val="1502104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C8EDE1-BED7-5EFF-3C18-4D9C35104B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Application</a:t>
            </a:r>
            <a:r>
              <a:rPr lang="de-DE"/>
              <a:t> </a:t>
            </a:r>
            <a:r>
              <a:rPr lang="de-DE" err="1"/>
              <a:t>context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C37584-B60D-3361-59C7-B081EA9D3F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err="1"/>
              <a:t>Suppose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own a </a:t>
            </a:r>
            <a:r>
              <a:rPr lang="de-DE" err="1"/>
              <a:t>vineyard</a:t>
            </a:r>
            <a:r>
              <a:rPr lang="de-DE"/>
              <a:t> in Portugal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7C039D8-E707-BFE4-15FE-0585A9DF94DC}"/>
              </a:ext>
            </a:extLst>
          </p:cNvPr>
          <p:cNvSpPr/>
          <p:nvPr/>
        </p:nvSpPr>
        <p:spPr>
          <a:xfrm>
            <a:off x="0" y="1255883"/>
            <a:ext cx="12192000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pic>
        <p:nvPicPr>
          <p:cNvPr id="1026" name="Picture 2" descr="A luxury Tuscany Tour of the Finest Vineyards | Intriq Journey">
            <a:extLst>
              <a:ext uri="{FF2B5EF4-FFF2-40B4-BE49-F238E27FC236}">
                <a16:creationId xmlns:a16="http://schemas.microsoft.com/office/drawing/2014/main" id="{FDD60117-1353-0CD5-EF15-2D15620C9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9724" y="1496482"/>
            <a:ext cx="6334125" cy="422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3">
            <a:extLst>
              <a:ext uri="{FF2B5EF4-FFF2-40B4-BE49-F238E27FC236}">
                <a16:creationId xmlns:a16="http://schemas.microsoft.com/office/drawing/2014/main" id="{D9D7DD8A-9C4E-B828-A33F-9781AEE8DA41}"/>
              </a:ext>
            </a:extLst>
          </p:cNvPr>
          <p:cNvSpPr txBox="1"/>
          <p:nvPr/>
        </p:nvSpPr>
        <p:spPr>
          <a:xfrm>
            <a:off x="446230" y="2253476"/>
            <a:ext cx="2276332" cy="20091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  <a:spcAft>
                <a:spcPts val="1350"/>
              </a:spcAft>
            </a:pPr>
            <a:r>
              <a:rPr lang="en-US" sz="1600">
                <a:solidFill>
                  <a:srgbClr val="1A1C1E"/>
                </a:solidFill>
                <a:latin typeface="Google Sans Text"/>
              </a:rPr>
              <a:t>We produce several different wines with our amazing grapes.</a:t>
            </a:r>
            <a:br>
              <a:rPr lang="en-US" sz="1600">
                <a:solidFill>
                  <a:srgbClr val="1A1C1E"/>
                </a:solidFill>
                <a:latin typeface="Google Sans Text"/>
              </a:rPr>
            </a:br>
            <a:br>
              <a:rPr lang="en-US" sz="1600">
                <a:solidFill>
                  <a:srgbClr val="1A1C1E"/>
                </a:solidFill>
                <a:latin typeface="Google Sans Text"/>
              </a:rPr>
            </a:br>
            <a:endParaRPr lang="en-US" sz="1600">
              <a:solidFill>
                <a:srgbClr val="1A1C1E"/>
              </a:solidFill>
              <a:latin typeface="Google Sans Text"/>
            </a:endParaRPr>
          </a:p>
          <a:p>
            <a:pPr marL="285750" indent="-285750">
              <a:lnSpc>
                <a:spcPts val="1500"/>
              </a:lnSpc>
              <a:spcAft>
                <a:spcPts val="1350"/>
              </a:spcAft>
              <a:buFont typeface="Wingdings" panose="05000000000000000000" pitchFamily="2" charset="2"/>
              <a:buChar char="Ø"/>
            </a:pPr>
            <a:r>
              <a:rPr lang="en-US" sz="1600">
                <a:solidFill>
                  <a:srgbClr val="1A1C1E"/>
                </a:solidFill>
                <a:latin typeface="Google Sans Text"/>
              </a:rPr>
              <a:t>But how do we assess the quality of our wine to adjust for the correct pricing?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021E9ED7-8C8B-3199-722C-33C73E8E560C}"/>
              </a:ext>
            </a:extLst>
          </p:cNvPr>
          <p:cNvSpPr txBox="1"/>
          <p:nvPr/>
        </p:nvSpPr>
        <p:spPr>
          <a:xfrm>
            <a:off x="9528172" y="2253476"/>
            <a:ext cx="2486027" cy="258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  <a:spcAft>
                <a:spcPts val="1350"/>
              </a:spcAft>
            </a:pPr>
            <a:r>
              <a:rPr lang="en-US" sz="1600">
                <a:solidFill>
                  <a:srgbClr val="1A1C1E"/>
                </a:solidFill>
                <a:latin typeface="Google Sans Text"/>
              </a:rPr>
              <a:t>Personal samples always require a lot of time and effort.</a:t>
            </a:r>
            <a:br>
              <a:rPr lang="en-US" sz="1600">
                <a:solidFill>
                  <a:srgbClr val="1A1C1E"/>
                </a:solidFill>
                <a:latin typeface="Google Sans Text"/>
              </a:rPr>
            </a:br>
            <a:br>
              <a:rPr lang="en-US" sz="1600">
                <a:solidFill>
                  <a:srgbClr val="1A1C1E"/>
                </a:solidFill>
                <a:latin typeface="Google Sans Text"/>
              </a:rPr>
            </a:br>
            <a:endParaRPr lang="en-US" sz="1600">
              <a:solidFill>
                <a:srgbClr val="1A1C1E"/>
              </a:solidFill>
              <a:latin typeface="Google Sans Text"/>
            </a:endParaRPr>
          </a:p>
          <a:p>
            <a:pPr>
              <a:lnSpc>
                <a:spcPts val="1500"/>
              </a:lnSpc>
              <a:spcAft>
                <a:spcPts val="1350"/>
              </a:spcAft>
            </a:pPr>
            <a:r>
              <a:rPr lang="en-US" sz="1600">
                <a:solidFill>
                  <a:srgbClr val="1A1C1E"/>
                </a:solidFill>
                <a:latin typeface="Google Sans Text"/>
              </a:rPr>
              <a:t>Specifically, too much personal sampling in the short-term can contribute to </a:t>
            </a:r>
            <a:r>
              <a:rPr lang="en-US" sz="1600" b="1">
                <a:solidFill>
                  <a:srgbClr val="1A1C1E"/>
                </a:solidFill>
                <a:latin typeface="Google Sans Text"/>
              </a:rPr>
              <a:t>distortions</a:t>
            </a:r>
            <a:r>
              <a:rPr lang="en-US" sz="1600">
                <a:solidFill>
                  <a:srgbClr val="1A1C1E"/>
                </a:solidFill>
                <a:latin typeface="Google Sans Text"/>
              </a:rPr>
              <a:t> in one’s </a:t>
            </a:r>
            <a:r>
              <a:rPr lang="en-US" sz="1600" b="1">
                <a:solidFill>
                  <a:srgbClr val="1A1C1E"/>
                </a:solidFill>
                <a:latin typeface="Google Sans Text"/>
              </a:rPr>
              <a:t>personal perception </a:t>
            </a:r>
            <a:r>
              <a:rPr lang="en-US" sz="1600">
                <a:solidFill>
                  <a:srgbClr val="1A1C1E"/>
                </a:solidFill>
                <a:latin typeface="Google Sans Text"/>
              </a:rPr>
              <a:t>and the </a:t>
            </a:r>
            <a:r>
              <a:rPr lang="en-US" sz="1600" b="1">
                <a:solidFill>
                  <a:srgbClr val="1A1C1E"/>
                </a:solidFill>
                <a:latin typeface="Google Sans Text"/>
              </a:rPr>
              <a:t>reliability</a:t>
            </a:r>
            <a:r>
              <a:rPr lang="en-US" sz="1600">
                <a:solidFill>
                  <a:srgbClr val="1A1C1E"/>
                </a:solidFill>
                <a:latin typeface="Google Sans Text"/>
              </a:rPr>
              <a:t> of our </a:t>
            </a:r>
            <a:r>
              <a:rPr lang="en-US" sz="1600" b="1">
                <a:solidFill>
                  <a:srgbClr val="1A1C1E"/>
                </a:solidFill>
                <a:latin typeface="Google Sans Text"/>
              </a:rPr>
              <a:t>estimates</a:t>
            </a:r>
            <a:r>
              <a:rPr lang="en-US" sz="1600">
                <a:solidFill>
                  <a:srgbClr val="1A1C1E"/>
                </a:solidFill>
                <a:latin typeface="Google Sans Tex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86088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41B7E3-5770-5D0A-5DED-710E8A4AE0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EAF6F8E1-7700-97FB-8971-92A850D26FBE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6CBD8556-A49C-0351-67F1-39870B028D7E}"/>
              </a:ext>
            </a:extLst>
          </p:cNvPr>
          <p:cNvSpPr/>
          <p:nvPr/>
        </p:nvSpPr>
        <p:spPr>
          <a:xfrm>
            <a:off x="301624" y="1209332"/>
            <a:ext cx="5562905" cy="2366725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2AE867-95BC-A25F-CE04-6B1E00278D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Performance and feature selection </a:t>
            </a:r>
            <a:r>
              <a:rPr lang="de-DE" err="1"/>
              <a:t>for</a:t>
            </a:r>
            <a:r>
              <a:rPr lang="de-DE"/>
              <a:t> GBM.</a:t>
            </a:r>
            <a:endParaRPr lang="de-CH"/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A1A211D4-633D-417A-E230-BC116F07C545}"/>
              </a:ext>
            </a:extLst>
          </p:cNvPr>
          <p:cNvSpPr txBox="1"/>
          <p:nvPr/>
        </p:nvSpPr>
        <p:spPr>
          <a:xfrm>
            <a:off x="410028" y="1367761"/>
            <a:ext cx="5228772" cy="22082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Optimization to minimize multinomial devianc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Cross-validation: Hyperparameter grid-search to maximize the mean macro F1-score across the folds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Final evaluation is done on macro F1-scor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n-US" sz="1400">
              <a:solidFill>
                <a:srgbClr val="1A1C1E"/>
              </a:solidFill>
              <a:latin typeface="Google Sans Text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Teste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d hyperparameters: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Tree depth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: 4,6 and 8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Learning Rate: 0.01 and 0.05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Minimum observations in a node: 10, 15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effectLst/>
                <a:latin typeface="Google Sans Text"/>
              </a:rPr>
              <a:t>Number of trees: 2’000 and selecting the optimal number based on the out-of-bag error.</a:t>
            </a:r>
          </a:p>
        </p:txBody>
      </p:sp>
      <p:pic>
        <p:nvPicPr>
          <p:cNvPr id="7" name="Grafik 6" descr="Ein Bild, das Text,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9D3403CC-41C6-0F03-D87C-EED570704F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379" y="1209332"/>
            <a:ext cx="4514850" cy="451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8615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AE3DD0-629F-81DD-8209-E5259359B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5499AAAB-925D-BA57-331D-39EA99A2D550}"/>
              </a:ext>
            </a:extLst>
          </p:cNvPr>
          <p:cNvSpPr/>
          <p:nvPr/>
        </p:nvSpPr>
        <p:spPr>
          <a:xfrm>
            <a:off x="0" y="1025611"/>
            <a:ext cx="12192000" cy="5405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07A3454-AFFD-4B20-B0FF-97A81EE32A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RF </a:t>
            </a:r>
            <a:r>
              <a:rPr lang="de-DE" err="1"/>
              <a:t>vs</a:t>
            </a:r>
            <a:r>
              <a:rPr lang="de-DE"/>
              <a:t> GBM</a:t>
            </a:r>
            <a:endParaRPr lang="de-CH"/>
          </a:p>
        </p:txBody>
      </p:sp>
      <p:pic>
        <p:nvPicPr>
          <p:cNvPr id="7" name="Grafik 6" descr="Ein Bild, das Text,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A62F11F9-06DE-8A77-1D87-13A0CB95BB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345" y="1209330"/>
            <a:ext cx="4922107" cy="4922107"/>
          </a:xfrm>
          <a:prstGeom prst="rect">
            <a:avLst/>
          </a:prstGeom>
        </p:spPr>
      </p:pic>
      <p:pic>
        <p:nvPicPr>
          <p:cNvPr id="8" name="Grafik 7" descr="Ein Bild, das Text, Screenshot, Diagramm, Design enthält.&#10;&#10;KI-generierte Inhalte können fehlerhaft sein.">
            <a:extLst>
              <a:ext uri="{FF2B5EF4-FFF2-40B4-BE49-F238E27FC236}">
                <a16:creationId xmlns:a16="http://schemas.microsoft.com/office/drawing/2014/main" id="{3545EF80-3E44-0045-6CA7-E509B1BE1C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71" y="1209332"/>
            <a:ext cx="4922108" cy="492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208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4CB12F-999A-7352-F476-0349E9368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6">
            <a:extLst>
              <a:ext uri="{FF2B5EF4-FFF2-40B4-BE49-F238E27FC236}">
                <a16:creationId xmlns:a16="http://schemas.microsoft.com/office/drawing/2014/main" id="{D8FDECB1-5CA4-417D-ECE2-05E7C852B18D}"/>
              </a:ext>
            </a:extLst>
          </p:cNvPr>
          <p:cNvSpPr/>
          <p:nvPr/>
        </p:nvSpPr>
        <p:spPr>
          <a:xfrm>
            <a:off x="4830" y="1255883"/>
            <a:ext cx="5834449" cy="5175397"/>
          </a:xfrm>
          <a:prstGeom prst="rect">
            <a:avLst/>
          </a:prstGeom>
          <a:solidFill>
            <a:srgbClr val="B7CEF7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CB2314C-AA6F-EB69-1358-226F17E9AE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Multi-</a:t>
            </a:r>
            <a:r>
              <a:rPr lang="de-DE" err="1"/>
              <a:t>class</a:t>
            </a:r>
            <a:r>
              <a:rPr lang="de-DE"/>
              <a:t> </a:t>
            </a:r>
            <a:r>
              <a:rPr lang="de-DE" err="1"/>
              <a:t>classification</a:t>
            </a:r>
            <a:r>
              <a:rPr lang="de-DE"/>
              <a:t> </a:t>
            </a:r>
            <a:r>
              <a:rPr lang="de-DE" err="1"/>
              <a:t>problem</a:t>
            </a:r>
            <a:r>
              <a:rPr lang="de-DE"/>
              <a:t> to </a:t>
            </a:r>
            <a:r>
              <a:rPr lang="de-DE" err="1"/>
              <a:t>predic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wine</a:t>
            </a:r>
            <a:r>
              <a:rPr lang="de-DE"/>
              <a:t> </a:t>
            </a:r>
            <a:r>
              <a:rPr lang="de-DE" err="1"/>
              <a:t>quality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29F8ED-6E7F-CFDA-4FDA-A8947CD323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Problem </a:t>
            </a:r>
            <a:r>
              <a:rPr lang="de-DE" err="1"/>
              <a:t>setup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3F25CC93-A96C-75CD-9FC2-E36FFF1D453A}"/>
              </a:ext>
            </a:extLst>
          </p:cNvPr>
          <p:cNvSpPr/>
          <p:nvPr/>
        </p:nvSpPr>
        <p:spPr>
          <a:xfrm>
            <a:off x="6357550" y="1255883"/>
            <a:ext cx="5834449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cxnSp>
        <p:nvCxnSpPr>
          <p:cNvPr id="13" name="Straight Connector 32">
            <a:extLst>
              <a:ext uri="{FF2B5EF4-FFF2-40B4-BE49-F238E27FC236}">
                <a16:creationId xmlns:a16="http://schemas.microsoft.com/office/drawing/2014/main" id="{64D7A257-A116-BAE3-6124-3F41998E0A7A}"/>
              </a:ext>
            </a:extLst>
          </p:cNvPr>
          <p:cNvCxnSpPr>
            <a:cxnSpLocks/>
          </p:cNvCxnSpPr>
          <p:nvPr/>
        </p:nvCxnSpPr>
        <p:spPr>
          <a:xfrm>
            <a:off x="6096000" y="1792420"/>
            <a:ext cx="0" cy="4418771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33">
            <a:extLst>
              <a:ext uri="{FF2B5EF4-FFF2-40B4-BE49-F238E27FC236}">
                <a16:creationId xmlns:a16="http://schemas.microsoft.com/office/drawing/2014/main" id="{B0073571-EB65-175A-1D1E-61FC3D48D902}"/>
              </a:ext>
            </a:extLst>
          </p:cNvPr>
          <p:cNvGrpSpPr/>
          <p:nvPr/>
        </p:nvGrpSpPr>
        <p:grpSpPr>
          <a:xfrm rot="10800000">
            <a:off x="5931660" y="3429000"/>
            <a:ext cx="253640" cy="425941"/>
            <a:chOff x="5986272" y="5021580"/>
            <a:chExt cx="120345" cy="297180"/>
          </a:xfrm>
        </p:grpSpPr>
        <p:sp>
          <p:nvSpPr>
            <p:cNvPr id="30" name="Rectangle 34">
              <a:extLst>
                <a:ext uri="{FF2B5EF4-FFF2-40B4-BE49-F238E27FC236}">
                  <a16:creationId xmlns:a16="http://schemas.microsoft.com/office/drawing/2014/main" id="{251BBD7C-DF1C-EF05-71E3-3327964E9F60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Arrow: Chevron 35">
              <a:extLst>
                <a:ext uri="{FF2B5EF4-FFF2-40B4-BE49-F238E27FC236}">
                  <a16:creationId xmlns:a16="http://schemas.microsoft.com/office/drawing/2014/main" id="{C261F7D9-E331-9D85-C095-44B763BC4786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9" name="TextBox 16">
            <a:extLst>
              <a:ext uri="{FF2B5EF4-FFF2-40B4-BE49-F238E27FC236}">
                <a16:creationId xmlns:a16="http://schemas.microsoft.com/office/drawing/2014/main" id="{DA79D643-7EF6-5BBE-6D15-DD1593CAC590}"/>
              </a:ext>
            </a:extLst>
          </p:cNvPr>
          <p:cNvSpPr txBox="1"/>
          <p:nvPr/>
        </p:nvSpPr>
        <p:spPr>
          <a:xfrm>
            <a:off x="380435" y="1677843"/>
            <a:ext cx="5364480" cy="3854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>
                <a:latin typeface="Google Sans Text"/>
              </a:rPr>
              <a:t>Data is obtained from Kaggle.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>
                <a:latin typeface="Google Sans Text"/>
              </a:rPr>
              <a:t>It includes 21 000 observations, including 1 dependent variable, wine quality, and 11 features.</a:t>
            </a:r>
          </a:p>
          <a:p>
            <a:pPr marL="285750" indent="-2857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The dependent variable measures the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wine quality 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on an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ordinal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scale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from 3 (lowest) to 9 (highest).</a:t>
            </a:r>
          </a:p>
          <a:p>
            <a:pPr marL="742950" lvl="1" indent="-285750">
              <a:lnSpc>
                <a:spcPts val="1500"/>
              </a:lnSpc>
              <a:spcAft>
                <a:spcPts val="1350"/>
              </a:spcAft>
              <a:buFont typeface="Wingdings" panose="05000000000000000000" pitchFamily="2" charset="2"/>
              <a:buChar char="Ø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This is why,  we apply a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multi-class classification 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approach as it treats the scores as distinct, ordered categories rather than continuous values.</a:t>
            </a:r>
          </a:p>
          <a:p>
            <a:pPr marL="285750" indent="-2857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In addition, it can be assumed that the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dependency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between at least some features and the dependent variable is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complex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(for example chemical features) with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non-normality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considerations.</a:t>
            </a:r>
          </a:p>
          <a:p>
            <a:pPr marL="742950" lvl="1" indent="-285750">
              <a:lnSpc>
                <a:spcPts val="1500"/>
              </a:lnSpc>
              <a:spcAft>
                <a:spcPts val="1350"/>
              </a:spcAft>
              <a:buFont typeface="Wingdings" panose="05000000000000000000" pitchFamily="2" charset="2"/>
              <a:buChar char="Ø"/>
            </a:pPr>
            <a:r>
              <a:rPr lang="en-US" sz="1400">
                <a:solidFill>
                  <a:srgbClr val="1A1C1E"/>
                </a:solidFill>
                <a:latin typeface="Google Sans Text"/>
              </a:rPr>
              <a:t>This is why, algorithms, like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decision trees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in general, but, for example, </a:t>
            </a:r>
            <a:r>
              <a:rPr lang="en-US" sz="1400" b="1">
                <a:solidFill>
                  <a:srgbClr val="1A1C1E"/>
                </a:solidFill>
                <a:latin typeface="Google Sans Text"/>
              </a:rPr>
              <a:t>random forests</a:t>
            </a:r>
            <a:r>
              <a:rPr lang="en-US" sz="1400">
                <a:solidFill>
                  <a:srgbClr val="1A1C1E"/>
                </a:solidFill>
                <a:latin typeface="Google Sans Text"/>
              </a:rPr>
              <a:t> specifically are well suited to capturing the dependency structure in the data without imposing strong assumptions about the underlying data generating process.</a:t>
            </a:r>
          </a:p>
        </p:txBody>
      </p:sp>
      <p:sp>
        <p:nvSpPr>
          <p:cNvPr id="20" name="TextBox 18">
            <a:extLst>
              <a:ext uri="{FF2B5EF4-FFF2-40B4-BE49-F238E27FC236}">
                <a16:creationId xmlns:a16="http://schemas.microsoft.com/office/drawing/2014/main" id="{B9A46654-586C-84FF-9AAF-26712E9C93DE}"/>
              </a:ext>
            </a:extLst>
          </p:cNvPr>
          <p:cNvSpPr txBox="1"/>
          <p:nvPr/>
        </p:nvSpPr>
        <p:spPr>
          <a:xfrm>
            <a:off x="380435" y="1259185"/>
            <a:ext cx="5364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600" b="1">
                <a:solidFill>
                  <a:schemeClr val="accent2">
                    <a:lumMod val="75000"/>
                  </a:schemeClr>
                </a:solidFill>
                <a:latin typeface="Google Sans Text"/>
              </a:rPr>
              <a:t>Data source:</a:t>
            </a:r>
          </a:p>
        </p:txBody>
      </p:sp>
      <p:cxnSp>
        <p:nvCxnSpPr>
          <p:cNvPr id="22" name="Straight Connector 19">
            <a:extLst>
              <a:ext uri="{FF2B5EF4-FFF2-40B4-BE49-F238E27FC236}">
                <a16:creationId xmlns:a16="http://schemas.microsoft.com/office/drawing/2014/main" id="{FD1554FD-F339-B3BE-D1C2-7111FA634E0A}"/>
              </a:ext>
            </a:extLst>
          </p:cNvPr>
          <p:cNvCxnSpPr>
            <a:cxnSpLocks/>
          </p:cNvCxnSpPr>
          <p:nvPr/>
        </p:nvCxnSpPr>
        <p:spPr>
          <a:xfrm>
            <a:off x="2251746" y="1546939"/>
            <a:ext cx="162185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30709F8-B76F-ADF2-26C9-D19584BC833C}"/>
              </a:ext>
            </a:extLst>
          </p:cNvPr>
          <p:cNvGrpSpPr/>
          <p:nvPr/>
        </p:nvGrpSpPr>
        <p:grpSpPr>
          <a:xfrm>
            <a:off x="6879831" y="2523827"/>
            <a:ext cx="4542549" cy="2446638"/>
            <a:chOff x="7390919" y="3934062"/>
            <a:chExt cx="4542549" cy="2446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59A4A94-F964-D58C-1B9B-BAD97E94E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90919" y="3934062"/>
              <a:ext cx="4542549" cy="2446638"/>
            </a:xfrm>
            <a:prstGeom prst="rect">
              <a:avLst/>
            </a:prstGeom>
          </p:spPr>
        </p:pic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05329E33-0185-CCA8-3852-CC1425CFFC31}"/>
                </a:ext>
              </a:extLst>
            </p:cNvPr>
            <p:cNvSpPr/>
            <p:nvPr/>
          </p:nvSpPr>
          <p:spPr>
            <a:xfrm>
              <a:off x="7390919" y="3945181"/>
              <a:ext cx="4542549" cy="2431977"/>
            </a:xfrm>
            <a:prstGeom prst="rect">
              <a:avLst/>
            </a:prstGeom>
            <a:solidFill>
              <a:srgbClr val="A6A6A6">
                <a:alpha val="1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6" name="TextBox 16">
            <a:extLst>
              <a:ext uri="{FF2B5EF4-FFF2-40B4-BE49-F238E27FC236}">
                <a16:creationId xmlns:a16="http://schemas.microsoft.com/office/drawing/2014/main" id="{0BDEB141-BCCC-985E-84F6-118BCB401AC2}"/>
              </a:ext>
            </a:extLst>
          </p:cNvPr>
          <p:cNvSpPr txBox="1"/>
          <p:nvPr/>
        </p:nvSpPr>
        <p:spPr>
          <a:xfrm>
            <a:off x="6809824" y="4966923"/>
            <a:ext cx="43026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50" i="1">
                <a:solidFill>
                  <a:srgbClr val="1A1C1E"/>
                </a:solidFill>
                <a:latin typeface="Google Sans Text"/>
              </a:rPr>
              <a:t>Table 1: Descriptions of the features and the target variable.</a:t>
            </a:r>
          </a:p>
        </p:txBody>
      </p:sp>
    </p:spTree>
    <p:extLst>
      <p:ext uri="{BB962C8B-B14F-4D97-AF65-F5344CB8AC3E}">
        <p14:creationId xmlns:p14="http://schemas.microsoft.com/office/powerpoint/2010/main" val="19442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B0426-3477-B7B6-1301-9D07A92079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BC10F485-10DA-D53F-3C02-710CF6D0D2DF}"/>
              </a:ext>
            </a:extLst>
          </p:cNvPr>
          <p:cNvSpPr/>
          <p:nvPr/>
        </p:nvSpPr>
        <p:spPr>
          <a:xfrm>
            <a:off x="0" y="1255883"/>
            <a:ext cx="12192000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C421172C-24C6-91FB-2E12-67B9994FA948}"/>
              </a:ext>
            </a:extLst>
          </p:cNvPr>
          <p:cNvSpPr/>
          <p:nvPr/>
        </p:nvSpPr>
        <p:spPr>
          <a:xfrm>
            <a:off x="7281134" y="1521875"/>
            <a:ext cx="4779059" cy="4786020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6FA26F9-14DA-2B02-A40C-318BDFE99E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The </a:t>
            </a:r>
            <a:r>
              <a:rPr lang="de-DE" err="1"/>
              <a:t>dependent</a:t>
            </a:r>
            <a:r>
              <a:rPr lang="de-DE"/>
              <a:t> variable </a:t>
            </a:r>
            <a:r>
              <a:rPr lang="de-DE" err="1"/>
              <a:t>shows</a:t>
            </a:r>
            <a:r>
              <a:rPr lang="de-DE"/>
              <a:t> a </a:t>
            </a:r>
            <a:r>
              <a:rPr lang="de-DE" err="1"/>
              <a:t>balanced</a:t>
            </a:r>
            <a:r>
              <a:rPr lang="de-DE"/>
              <a:t> </a:t>
            </a:r>
            <a:r>
              <a:rPr lang="de-DE" err="1"/>
              <a:t>distribution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0921EA-5A6D-9982-FE89-A2CBC71596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ata </a:t>
            </a:r>
            <a:r>
              <a:rPr lang="de-DE" err="1"/>
              <a:t>exploration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490239A-0ABD-543B-24FC-253F748AE654}"/>
              </a:ext>
            </a:extLst>
          </p:cNvPr>
          <p:cNvSpPr/>
          <p:nvPr/>
        </p:nvSpPr>
        <p:spPr>
          <a:xfrm>
            <a:off x="433749" y="1584961"/>
            <a:ext cx="3283165" cy="4786020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Arrow: Pentagon 24">
            <a:extLst>
              <a:ext uri="{FF2B5EF4-FFF2-40B4-BE49-F238E27FC236}">
                <a16:creationId xmlns:a16="http://schemas.microsoft.com/office/drawing/2014/main" id="{24FE9D94-C042-37ED-AEDF-E7621FB61D7E}"/>
              </a:ext>
            </a:extLst>
          </p:cNvPr>
          <p:cNvSpPr/>
          <p:nvPr/>
        </p:nvSpPr>
        <p:spPr>
          <a:xfrm>
            <a:off x="433748" y="1312322"/>
            <a:ext cx="3420000" cy="275276"/>
          </a:xfrm>
          <a:prstGeom prst="homePlate">
            <a:avLst/>
          </a:prstGeom>
          <a:solidFill>
            <a:srgbClr val="0048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oogle Sans Text"/>
              </a:rPr>
              <a:t>Dependent Variable: Wine Quality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0B33DB0-114B-BFF1-E85A-1BE271D12062}"/>
              </a:ext>
            </a:extLst>
          </p:cNvPr>
          <p:cNvSpPr/>
          <p:nvPr/>
        </p:nvSpPr>
        <p:spPr>
          <a:xfrm>
            <a:off x="3849222" y="1584961"/>
            <a:ext cx="3283165" cy="4786020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Chevron 25">
            <a:extLst>
              <a:ext uri="{FF2B5EF4-FFF2-40B4-BE49-F238E27FC236}">
                <a16:creationId xmlns:a16="http://schemas.microsoft.com/office/drawing/2014/main" id="{BABEFF08-0E52-D646-2764-5DA97A128958}"/>
              </a:ext>
            </a:extLst>
          </p:cNvPr>
          <p:cNvSpPr/>
          <p:nvPr/>
        </p:nvSpPr>
        <p:spPr>
          <a:xfrm>
            <a:off x="3849222" y="1312322"/>
            <a:ext cx="3420000" cy="275276"/>
          </a:xfrm>
          <a:prstGeom prst="chevron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Google Sans Text"/>
              </a:rPr>
              <a:t>Features</a:t>
            </a:r>
          </a:p>
        </p:txBody>
      </p:sp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5EF32FA5-5DB8-D8F6-233E-AAE79B221B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1961281"/>
              </p:ext>
            </p:extLst>
          </p:nvPr>
        </p:nvGraphicFramePr>
        <p:xfrm>
          <a:off x="878121" y="3805841"/>
          <a:ext cx="2297564" cy="195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164">
                  <a:extLst>
                    <a:ext uri="{9D8B030D-6E8A-4147-A177-3AD203B41FA5}">
                      <a16:colId xmlns:a16="http://schemas.microsoft.com/office/drawing/2014/main" val="178197085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041014150"/>
                    </a:ext>
                  </a:extLst>
                </a:gridCol>
              </a:tblGrid>
              <a:tr h="147781"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Quality Sco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Obs.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9792436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algn="l"/>
                      <a:r>
                        <a:rPr lang="en-GB" sz="1000"/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047150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algn="l"/>
                      <a:r>
                        <a:rPr lang="en-GB" sz="1000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935209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91638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402678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790986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6250543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350890"/>
                  </a:ext>
                </a:extLst>
              </a:tr>
            </a:tbl>
          </a:graphicData>
        </a:graphic>
      </p:graphicFrame>
      <p:sp>
        <p:nvSpPr>
          <p:cNvPr id="14" name="TextBox 3">
            <a:extLst>
              <a:ext uri="{FF2B5EF4-FFF2-40B4-BE49-F238E27FC236}">
                <a16:creationId xmlns:a16="http://schemas.microsoft.com/office/drawing/2014/main" id="{3D409535-765D-D003-EDC3-F223EBC6A60D}"/>
              </a:ext>
            </a:extLst>
          </p:cNvPr>
          <p:cNvSpPr txBox="1"/>
          <p:nvPr/>
        </p:nvSpPr>
        <p:spPr>
          <a:xfrm>
            <a:off x="543068" y="1758176"/>
            <a:ext cx="3131100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dependent variable measures the wine quality on an ordinal scale from 3 (lowest) to 9 (highest)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DEDAB736-E381-DAE8-33C1-B29DCC01CBE2}"/>
              </a:ext>
            </a:extLst>
          </p:cNvPr>
          <p:cNvSpPr txBox="1"/>
          <p:nvPr/>
        </p:nvSpPr>
        <p:spPr>
          <a:xfrm>
            <a:off x="543068" y="2454706"/>
            <a:ext cx="3240000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ine quality is balanced across all quality scores; each </a:t>
            </a:r>
            <a:r>
              <a:rPr lang="en-US" sz="1200">
                <a:solidFill>
                  <a:srgbClr val="1A1C1E"/>
                </a:solidFill>
                <a:latin typeface="Google Sans Text"/>
              </a:rPr>
              <a:t>consists of 3 000 observations in the dataset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8805F9D4-F21D-7F51-E182-F1A363708C62}"/>
              </a:ext>
            </a:extLst>
          </p:cNvPr>
          <p:cNvSpPr txBox="1"/>
          <p:nvPr/>
        </p:nvSpPr>
        <p:spPr>
          <a:xfrm>
            <a:off x="543068" y="3152690"/>
            <a:ext cx="3131100" cy="4696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he dependent variable is set up as a factor to retain the ordinality of the scale.</a:t>
            </a: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97F4D831-B9DD-913C-99F3-230269A85E82}"/>
              </a:ext>
            </a:extLst>
          </p:cNvPr>
          <p:cNvSpPr txBox="1"/>
          <p:nvPr/>
        </p:nvSpPr>
        <p:spPr>
          <a:xfrm>
            <a:off x="3864623" y="1823560"/>
            <a:ext cx="3240000" cy="12390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In terms of multicollinearity, we encounter high correlations between most of our features. Amongst others, residual sugar and density show a correlation of 0.79 whilst residual sugar and free sulfur dioxide are also highly correlated (0.78).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A96BEB6E-0758-DFFB-98F4-A2F784A981F3}"/>
              </a:ext>
            </a:extLst>
          </p:cNvPr>
          <p:cNvSpPr txBox="1"/>
          <p:nvPr/>
        </p:nvSpPr>
        <p:spPr>
          <a:xfrm>
            <a:off x="3864623" y="4186732"/>
            <a:ext cx="3240000" cy="8492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variances and scale of our features differ by several orders of magnitude, thus, and to prepare the data properly for regularization we standardize the features before modeling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27E9D76D-8057-90C4-C0FF-3BDA785646C3}"/>
              </a:ext>
            </a:extLst>
          </p:cNvPr>
          <p:cNvSpPr txBox="1"/>
          <p:nvPr/>
        </p:nvSpPr>
        <p:spPr>
          <a:xfrm>
            <a:off x="4389701" y="1623640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Multicollinearity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A48D5CE3-CE84-D30A-2DA4-DC4216821F5A}"/>
              </a:ext>
            </a:extLst>
          </p:cNvPr>
          <p:cNvSpPr txBox="1"/>
          <p:nvPr/>
        </p:nvSpPr>
        <p:spPr>
          <a:xfrm>
            <a:off x="4389701" y="399972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Standardiza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0" name="TextBox 3">
            <a:extLst>
              <a:ext uri="{FF2B5EF4-FFF2-40B4-BE49-F238E27FC236}">
                <a16:creationId xmlns:a16="http://schemas.microsoft.com/office/drawing/2014/main" id="{A83DD475-20A3-C879-EDA0-F88D0529AF04}"/>
              </a:ext>
            </a:extLst>
          </p:cNvPr>
          <p:cNvSpPr txBox="1"/>
          <p:nvPr/>
        </p:nvSpPr>
        <p:spPr>
          <a:xfrm>
            <a:off x="4389701" y="5191854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Bimodality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7111DB3B-E0A8-B2A9-36BC-5CB8B6C257D9}"/>
              </a:ext>
            </a:extLst>
          </p:cNvPr>
          <p:cNvSpPr txBox="1"/>
          <p:nvPr/>
        </p:nvSpPr>
        <p:spPr>
          <a:xfrm>
            <a:off x="3864623" y="5374697"/>
            <a:ext cx="3240000" cy="8509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Most features show a bimodal distribution (e.g. density, citric acid, and others). This is likely due to the inclusion of both red and white wines in the dataset. 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2282D15A-1656-3E99-918D-B2D9171BF2E9}"/>
              </a:ext>
            </a:extLst>
          </p:cNvPr>
          <p:cNvSpPr txBox="1"/>
          <p:nvPr/>
        </p:nvSpPr>
        <p:spPr>
          <a:xfrm>
            <a:off x="8039102" y="1808001"/>
            <a:ext cx="3517897" cy="65684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Even though we encounter </a:t>
            </a:r>
            <a:r>
              <a:rPr lang="en-US" sz="1050">
                <a:solidFill>
                  <a:srgbClr val="1A1C1E"/>
                </a:solidFill>
                <a:latin typeface="Google Sans Text"/>
              </a:rPr>
              <a:t>high correlations, none are higher than 0.9 whilst all show at least low predictive power (in terms of informational value).</a:t>
            </a:r>
            <a:endParaRPr lang="en-US" sz="105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7" name="TextBox 3">
            <a:extLst>
              <a:ext uri="{FF2B5EF4-FFF2-40B4-BE49-F238E27FC236}">
                <a16:creationId xmlns:a16="http://schemas.microsoft.com/office/drawing/2014/main" id="{54DD09C6-3072-CD5A-FC71-5DC7CB7B5F2C}"/>
              </a:ext>
            </a:extLst>
          </p:cNvPr>
          <p:cNvSpPr txBox="1"/>
          <p:nvPr/>
        </p:nvSpPr>
        <p:spPr>
          <a:xfrm>
            <a:off x="8542855" y="1603613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Selec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8" name="TextBox 3">
            <a:extLst>
              <a:ext uri="{FF2B5EF4-FFF2-40B4-BE49-F238E27FC236}">
                <a16:creationId xmlns:a16="http://schemas.microsoft.com/office/drawing/2014/main" id="{3C409870-C621-7E2C-9D6B-91047A4EC669}"/>
              </a:ext>
            </a:extLst>
          </p:cNvPr>
          <p:cNvSpPr txBox="1"/>
          <p:nvPr/>
        </p:nvSpPr>
        <p:spPr>
          <a:xfrm>
            <a:off x="8567271" y="269447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Feature </a:t>
            </a:r>
            <a:r>
              <a:rPr lang="de-DE" sz="1200" b="1" err="1">
                <a:latin typeface="Google Sans Text"/>
              </a:rPr>
              <a:t>engineering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3" name="Arrow: Chevron 26">
            <a:extLst>
              <a:ext uri="{FF2B5EF4-FFF2-40B4-BE49-F238E27FC236}">
                <a16:creationId xmlns:a16="http://schemas.microsoft.com/office/drawing/2014/main" id="{7C2E7ED1-8753-3F86-EA8D-FFB8B562C54B}"/>
              </a:ext>
            </a:extLst>
          </p:cNvPr>
          <p:cNvSpPr/>
          <p:nvPr/>
        </p:nvSpPr>
        <p:spPr>
          <a:xfrm>
            <a:off x="7252527" y="1312322"/>
            <a:ext cx="4939473" cy="275276"/>
          </a:xfrm>
          <a:prstGeom prst="chevron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Google Sans Text"/>
              </a:rPr>
              <a:t>Feature selection and engineering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94F82A48-12A9-00A5-C3B9-4FC57DEE8691}"/>
              </a:ext>
            </a:extLst>
          </p:cNvPr>
          <p:cNvSpPr txBox="1"/>
          <p:nvPr/>
        </p:nvSpPr>
        <p:spPr>
          <a:xfrm>
            <a:off x="4401869" y="303968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Informational</a:t>
            </a:r>
            <a:r>
              <a:rPr lang="de-DE" sz="1200" b="1">
                <a:latin typeface="Google Sans Text"/>
              </a:rPr>
              <a:t> Value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4" name="TextBox 3">
            <a:extLst>
              <a:ext uri="{FF2B5EF4-FFF2-40B4-BE49-F238E27FC236}">
                <a16:creationId xmlns:a16="http://schemas.microsoft.com/office/drawing/2014/main" id="{F4F1647F-AE52-7AF4-13EE-E35B1B283CFA}"/>
              </a:ext>
            </a:extLst>
          </p:cNvPr>
          <p:cNvSpPr txBox="1"/>
          <p:nvPr/>
        </p:nvSpPr>
        <p:spPr>
          <a:xfrm>
            <a:off x="3864623" y="3256216"/>
            <a:ext cx="3333918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e discovered that density and total and free sulfur are features with a high predictive power, followed by residual sugar and chlorides.</a:t>
            </a: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6E7BD1F-6DD4-D872-2203-A6114DE89F03}"/>
              </a:ext>
            </a:extLst>
          </p:cNvPr>
          <p:cNvGrpSpPr/>
          <p:nvPr/>
        </p:nvGrpSpPr>
        <p:grpSpPr>
          <a:xfrm>
            <a:off x="7419600" y="4219200"/>
            <a:ext cx="4435200" cy="2041200"/>
            <a:chOff x="7447923" y="3517919"/>
            <a:chExt cx="4497055" cy="2236940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DB7C34-A58C-A453-638F-5D4CA8A24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7923" y="3517919"/>
              <a:ext cx="4497055" cy="2236940"/>
            </a:xfrm>
            <a:prstGeom prst="rect">
              <a:avLst/>
            </a:prstGeom>
          </p:spPr>
        </p:pic>
        <p:sp>
          <p:nvSpPr>
            <p:cNvPr id="47" name="Rectangle 5">
              <a:extLst>
                <a:ext uri="{FF2B5EF4-FFF2-40B4-BE49-F238E27FC236}">
                  <a16:creationId xmlns:a16="http://schemas.microsoft.com/office/drawing/2014/main" id="{5D84CB37-C942-0FEE-5BF3-6C503B3524D5}"/>
                </a:ext>
              </a:extLst>
            </p:cNvPr>
            <p:cNvSpPr/>
            <p:nvPr/>
          </p:nvSpPr>
          <p:spPr>
            <a:xfrm>
              <a:off x="7447923" y="3517919"/>
              <a:ext cx="4497055" cy="2236940"/>
            </a:xfrm>
            <a:prstGeom prst="rect">
              <a:avLst/>
            </a:prstGeom>
            <a:solidFill>
              <a:schemeClr val="bg1">
                <a:lumMod val="50000"/>
                <a:alpha val="14902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8" name="TextBox 3">
            <a:extLst>
              <a:ext uri="{FF2B5EF4-FFF2-40B4-BE49-F238E27FC236}">
                <a16:creationId xmlns:a16="http://schemas.microsoft.com/office/drawing/2014/main" id="{5693A53E-434B-8858-F1A8-B33F10896E2E}"/>
              </a:ext>
            </a:extLst>
          </p:cNvPr>
          <p:cNvSpPr txBox="1"/>
          <p:nvPr/>
        </p:nvSpPr>
        <p:spPr>
          <a:xfrm>
            <a:off x="8039101" y="2893212"/>
            <a:ext cx="3517897" cy="104156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We create a dummy variable, which captures whether the wine type is rather a white wine (=1) or a red wine (=0) based on partitioning the dataset on the most differentiating features (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total_sulfur_dioxide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, chlorides and 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volatile_acidity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). </a:t>
            </a:r>
          </a:p>
        </p:txBody>
      </p:sp>
      <p:sp>
        <p:nvSpPr>
          <p:cNvPr id="10" name="TextBox 16">
            <a:extLst>
              <a:ext uri="{FF2B5EF4-FFF2-40B4-BE49-F238E27FC236}">
                <a16:creationId xmlns:a16="http://schemas.microsoft.com/office/drawing/2014/main" id="{6856E9A3-75E8-BC8D-B2D0-054BE53C3CD4}"/>
              </a:ext>
            </a:extLst>
          </p:cNvPr>
          <p:cNvSpPr txBox="1"/>
          <p:nvPr/>
        </p:nvSpPr>
        <p:spPr>
          <a:xfrm>
            <a:off x="7347202" y="6230085"/>
            <a:ext cx="4977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50" i="1">
                <a:solidFill>
                  <a:srgbClr val="1A1C1E"/>
                </a:solidFill>
                <a:latin typeface="Google Sans Text"/>
              </a:rPr>
              <a:t>Table 2: Descriptions of the features and the target variable after feature engineering.</a:t>
            </a:r>
          </a:p>
        </p:txBody>
      </p:sp>
    </p:spTree>
    <p:extLst>
      <p:ext uri="{BB962C8B-B14F-4D97-AF65-F5344CB8AC3E}">
        <p14:creationId xmlns:p14="http://schemas.microsoft.com/office/powerpoint/2010/main" val="5793966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3983C-4483-D2FF-2EB4-560C19682D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729413E1-21CB-9FD9-F8FA-9542C43F4B74}"/>
              </a:ext>
            </a:extLst>
          </p:cNvPr>
          <p:cNvSpPr/>
          <p:nvPr/>
        </p:nvSpPr>
        <p:spPr>
          <a:xfrm>
            <a:off x="0" y="1255883"/>
            <a:ext cx="12192000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1B5F7A1E-B273-775C-A3C9-94D1AEBC241F}"/>
              </a:ext>
            </a:extLst>
          </p:cNvPr>
          <p:cNvSpPr/>
          <p:nvPr/>
        </p:nvSpPr>
        <p:spPr>
          <a:xfrm>
            <a:off x="7281134" y="1521875"/>
            <a:ext cx="4779059" cy="4786020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38E01AE-4E06-19E6-994F-97AB285A32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observe</a:t>
            </a:r>
            <a:r>
              <a:rPr lang="de-DE"/>
              <a:t> </a:t>
            </a:r>
            <a:r>
              <a:rPr lang="de-DE" err="1"/>
              <a:t>several</a:t>
            </a:r>
            <a:r>
              <a:rPr lang="de-DE"/>
              <a:t> </a:t>
            </a:r>
            <a:r>
              <a:rPr lang="de-DE" err="1"/>
              <a:t>crucial</a:t>
            </a:r>
            <a:r>
              <a:rPr lang="de-DE"/>
              <a:t> </a:t>
            </a:r>
            <a:r>
              <a:rPr lang="de-DE" err="1"/>
              <a:t>characteristics</a:t>
            </a:r>
            <a:r>
              <a:rPr lang="de-DE"/>
              <a:t> like </a:t>
            </a:r>
            <a:r>
              <a:rPr lang="de-DE" err="1"/>
              <a:t>multicollinearity</a:t>
            </a:r>
            <a:r>
              <a:rPr lang="de-DE"/>
              <a:t> and </a:t>
            </a:r>
            <a:r>
              <a:rPr lang="de-DE" err="1"/>
              <a:t>bimodality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B0C778-9F3E-6F7C-25BC-EC99DF9202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Feature </a:t>
            </a:r>
            <a:r>
              <a:rPr lang="de-DE" err="1"/>
              <a:t>characteristics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875DC9CF-76AE-AF73-24E9-47D69995F933}"/>
              </a:ext>
            </a:extLst>
          </p:cNvPr>
          <p:cNvSpPr/>
          <p:nvPr/>
        </p:nvSpPr>
        <p:spPr>
          <a:xfrm>
            <a:off x="433749" y="1584961"/>
            <a:ext cx="3283165" cy="4786020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Arrow: Pentagon 24">
            <a:extLst>
              <a:ext uri="{FF2B5EF4-FFF2-40B4-BE49-F238E27FC236}">
                <a16:creationId xmlns:a16="http://schemas.microsoft.com/office/drawing/2014/main" id="{EC1A8C75-B1DC-09AD-BC07-5DFE03085419}"/>
              </a:ext>
            </a:extLst>
          </p:cNvPr>
          <p:cNvSpPr/>
          <p:nvPr/>
        </p:nvSpPr>
        <p:spPr>
          <a:xfrm>
            <a:off x="433748" y="1312322"/>
            <a:ext cx="3420000" cy="275276"/>
          </a:xfrm>
          <a:prstGeom prst="homePlate">
            <a:avLst/>
          </a:prstGeom>
          <a:solidFill>
            <a:srgbClr val="0048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oogle Sans Text"/>
              </a:rPr>
              <a:t>Dependent Variable: Wine Quality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4D9F9095-C8A9-1123-B057-5A85ECE109FB}"/>
              </a:ext>
            </a:extLst>
          </p:cNvPr>
          <p:cNvSpPr/>
          <p:nvPr/>
        </p:nvSpPr>
        <p:spPr>
          <a:xfrm>
            <a:off x="3849222" y="1584961"/>
            <a:ext cx="3283165" cy="4786020"/>
          </a:xfrm>
          <a:prstGeom prst="rect">
            <a:avLst/>
          </a:prstGeom>
          <a:solidFill>
            <a:srgbClr val="B22222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Chevron 25">
            <a:extLst>
              <a:ext uri="{FF2B5EF4-FFF2-40B4-BE49-F238E27FC236}">
                <a16:creationId xmlns:a16="http://schemas.microsoft.com/office/drawing/2014/main" id="{15D44AB4-EA5E-312C-E990-EFB58F8A5913}"/>
              </a:ext>
            </a:extLst>
          </p:cNvPr>
          <p:cNvSpPr/>
          <p:nvPr/>
        </p:nvSpPr>
        <p:spPr>
          <a:xfrm>
            <a:off x="3849222" y="1312322"/>
            <a:ext cx="3420000" cy="275276"/>
          </a:xfrm>
          <a:prstGeom prst="chevron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Google Sans Text"/>
              </a:rPr>
              <a:t>Features</a:t>
            </a:r>
          </a:p>
        </p:txBody>
      </p:sp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A431A221-DA86-2B43-EB85-15A4813B4E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398064"/>
              </p:ext>
            </p:extLst>
          </p:nvPr>
        </p:nvGraphicFramePr>
        <p:xfrm>
          <a:off x="878121" y="3805841"/>
          <a:ext cx="2297564" cy="195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164">
                  <a:extLst>
                    <a:ext uri="{9D8B030D-6E8A-4147-A177-3AD203B41FA5}">
                      <a16:colId xmlns:a16="http://schemas.microsoft.com/office/drawing/2014/main" val="178197085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041014150"/>
                    </a:ext>
                  </a:extLst>
                </a:gridCol>
              </a:tblGrid>
              <a:tr h="147781"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Quality Sco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Obs.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9792436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algn="l"/>
                      <a:r>
                        <a:rPr lang="en-GB" sz="1000"/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047150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algn="l"/>
                      <a:r>
                        <a:rPr lang="en-GB" sz="1000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935209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91638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402678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790986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6250543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350890"/>
                  </a:ext>
                </a:extLst>
              </a:tr>
            </a:tbl>
          </a:graphicData>
        </a:graphic>
      </p:graphicFrame>
      <p:sp>
        <p:nvSpPr>
          <p:cNvPr id="14" name="TextBox 3">
            <a:extLst>
              <a:ext uri="{FF2B5EF4-FFF2-40B4-BE49-F238E27FC236}">
                <a16:creationId xmlns:a16="http://schemas.microsoft.com/office/drawing/2014/main" id="{6A7989DC-FF3A-FC59-6896-781BCC7C527D}"/>
              </a:ext>
            </a:extLst>
          </p:cNvPr>
          <p:cNvSpPr txBox="1"/>
          <p:nvPr/>
        </p:nvSpPr>
        <p:spPr>
          <a:xfrm>
            <a:off x="543068" y="1758176"/>
            <a:ext cx="3131100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dependent variable measures the wine quality on an ordinal scale from 3 (lowest) to 9 (highest)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33583021-056F-FEA8-DA83-0E6AE9490D3C}"/>
              </a:ext>
            </a:extLst>
          </p:cNvPr>
          <p:cNvSpPr txBox="1"/>
          <p:nvPr/>
        </p:nvSpPr>
        <p:spPr>
          <a:xfrm>
            <a:off x="543068" y="2454706"/>
            <a:ext cx="3240000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ine quality is balanced across all quality scores; each </a:t>
            </a:r>
            <a:r>
              <a:rPr lang="en-US" sz="1200">
                <a:solidFill>
                  <a:srgbClr val="1A1C1E"/>
                </a:solidFill>
                <a:latin typeface="Google Sans Text"/>
              </a:rPr>
              <a:t>consist of 3 000 observations in the dataset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CF60915F-E9EA-2D02-F193-7D1AA8AE365B}"/>
              </a:ext>
            </a:extLst>
          </p:cNvPr>
          <p:cNvSpPr txBox="1"/>
          <p:nvPr/>
        </p:nvSpPr>
        <p:spPr>
          <a:xfrm>
            <a:off x="543068" y="3152690"/>
            <a:ext cx="3131100" cy="4696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he dependent variable is set up as a factor to retain the ordinality of the scale.</a:t>
            </a: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D332A57C-FC93-EAB2-4196-4AEE7C254F49}"/>
              </a:ext>
            </a:extLst>
          </p:cNvPr>
          <p:cNvSpPr txBox="1"/>
          <p:nvPr/>
        </p:nvSpPr>
        <p:spPr>
          <a:xfrm>
            <a:off x="3864623" y="1823560"/>
            <a:ext cx="3240000" cy="12390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In terms of multicollinearity, we encounter high correlations between most of our features. Amongst others, residual sugar and density show a correlation of 0.79 whilst residual sugar and free sulfur dioxide are also highly correlated (0.78).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049C9AE1-E14C-8F71-73B7-1CD9BCB57A92}"/>
              </a:ext>
            </a:extLst>
          </p:cNvPr>
          <p:cNvSpPr txBox="1"/>
          <p:nvPr/>
        </p:nvSpPr>
        <p:spPr>
          <a:xfrm>
            <a:off x="3864623" y="4186732"/>
            <a:ext cx="3240000" cy="8492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variances and scale of our features differ by several orders of magnitude, thus, and to prepare the data properly for regularization we standardize the features before modeling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B8B8089F-2F87-3933-BBE9-589A1C4CE737}"/>
              </a:ext>
            </a:extLst>
          </p:cNvPr>
          <p:cNvSpPr txBox="1"/>
          <p:nvPr/>
        </p:nvSpPr>
        <p:spPr>
          <a:xfrm>
            <a:off x="4389701" y="1623640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Multicollinearity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B3A2A281-3500-48BA-641C-4CDE4A4F8309}"/>
              </a:ext>
            </a:extLst>
          </p:cNvPr>
          <p:cNvSpPr txBox="1"/>
          <p:nvPr/>
        </p:nvSpPr>
        <p:spPr>
          <a:xfrm>
            <a:off x="4389701" y="399972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Standardiza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0" name="TextBox 3">
            <a:extLst>
              <a:ext uri="{FF2B5EF4-FFF2-40B4-BE49-F238E27FC236}">
                <a16:creationId xmlns:a16="http://schemas.microsoft.com/office/drawing/2014/main" id="{B6E93E4A-1675-BBDA-D36F-EBCF6F563A77}"/>
              </a:ext>
            </a:extLst>
          </p:cNvPr>
          <p:cNvSpPr txBox="1"/>
          <p:nvPr/>
        </p:nvSpPr>
        <p:spPr>
          <a:xfrm>
            <a:off x="4389701" y="5191854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Bimodality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F77603DD-6168-BFB2-CA8E-29F19A636D23}"/>
              </a:ext>
            </a:extLst>
          </p:cNvPr>
          <p:cNvSpPr txBox="1"/>
          <p:nvPr/>
        </p:nvSpPr>
        <p:spPr>
          <a:xfrm>
            <a:off x="3864623" y="5374697"/>
            <a:ext cx="3240000" cy="8509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Most features show a bimodal distribution (e.g. density, citric acid, and others). This is likely due to the inclusion of both red and white wines in the dataset. 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E3E38B69-33E5-B04F-3E1D-7EB55E5FE6FB}"/>
              </a:ext>
            </a:extLst>
          </p:cNvPr>
          <p:cNvSpPr txBox="1"/>
          <p:nvPr/>
        </p:nvSpPr>
        <p:spPr>
          <a:xfrm>
            <a:off x="8039102" y="1808001"/>
            <a:ext cx="3517897" cy="65684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Even though we encounter </a:t>
            </a:r>
            <a:r>
              <a:rPr lang="en-US" sz="1050">
                <a:solidFill>
                  <a:srgbClr val="1A1C1E"/>
                </a:solidFill>
                <a:latin typeface="Google Sans Text"/>
              </a:rPr>
              <a:t>high correlations, none are higher than 0.9 whilst all show at least low predictive power (in terms of informational value).</a:t>
            </a:r>
            <a:endParaRPr lang="en-US" sz="105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7" name="TextBox 3">
            <a:extLst>
              <a:ext uri="{FF2B5EF4-FFF2-40B4-BE49-F238E27FC236}">
                <a16:creationId xmlns:a16="http://schemas.microsoft.com/office/drawing/2014/main" id="{215AAA5A-24C6-4474-767E-D6A35BCD91FC}"/>
              </a:ext>
            </a:extLst>
          </p:cNvPr>
          <p:cNvSpPr txBox="1"/>
          <p:nvPr/>
        </p:nvSpPr>
        <p:spPr>
          <a:xfrm>
            <a:off x="8542855" y="1603613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Selec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8" name="TextBox 3">
            <a:extLst>
              <a:ext uri="{FF2B5EF4-FFF2-40B4-BE49-F238E27FC236}">
                <a16:creationId xmlns:a16="http://schemas.microsoft.com/office/drawing/2014/main" id="{EBD5571B-7494-8135-4347-A66CF922A99E}"/>
              </a:ext>
            </a:extLst>
          </p:cNvPr>
          <p:cNvSpPr txBox="1"/>
          <p:nvPr/>
        </p:nvSpPr>
        <p:spPr>
          <a:xfrm>
            <a:off x="8567271" y="269447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Feature </a:t>
            </a:r>
            <a:r>
              <a:rPr lang="de-DE" sz="1200" b="1" err="1">
                <a:latin typeface="Google Sans Text"/>
              </a:rPr>
              <a:t>engineering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3" name="Arrow: Chevron 26">
            <a:extLst>
              <a:ext uri="{FF2B5EF4-FFF2-40B4-BE49-F238E27FC236}">
                <a16:creationId xmlns:a16="http://schemas.microsoft.com/office/drawing/2014/main" id="{047D1261-C606-1DBC-2F68-55B4B12969AA}"/>
              </a:ext>
            </a:extLst>
          </p:cNvPr>
          <p:cNvSpPr/>
          <p:nvPr/>
        </p:nvSpPr>
        <p:spPr>
          <a:xfrm>
            <a:off x="7252527" y="1312322"/>
            <a:ext cx="4939473" cy="275276"/>
          </a:xfrm>
          <a:prstGeom prst="chevron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Google Sans Text"/>
              </a:rPr>
              <a:t>Feature selection and engineering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A199B1BF-23D2-56FC-D9AD-8C58B52C1C1D}"/>
              </a:ext>
            </a:extLst>
          </p:cNvPr>
          <p:cNvSpPr txBox="1"/>
          <p:nvPr/>
        </p:nvSpPr>
        <p:spPr>
          <a:xfrm>
            <a:off x="4401869" y="303968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Informational</a:t>
            </a:r>
            <a:r>
              <a:rPr lang="de-DE" sz="1200" b="1">
                <a:latin typeface="Google Sans Text"/>
              </a:rPr>
              <a:t> Value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4" name="TextBox 3">
            <a:extLst>
              <a:ext uri="{FF2B5EF4-FFF2-40B4-BE49-F238E27FC236}">
                <a16:creationId xmlns:a16="http://schemas.microsoft.com/office/drawing/2014/main" id="{6360640A-5533-0DF8-B9A7-FB13D9CB8363}"/>
              </a:ext>
            </a:extLst>
          </p:cNvPr>
          <p:cNvSpPr txBox="1"/>
          <p:nvPr/>
        </p:nvSpPr>
        <p:spPr>
          <a:xfrm>
            <a:off x="3864623" y="3256216"/>
            <a:ext cx="3333918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e discovered that density and total and free sulfur are features with a high predictive power, followed by residual sugar and chlorides.</a:t>
            </a: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46C7D94B-8772-9B6E-1D0A-6341018C67DA}"/>
              </a:ext>
            </a:extLst>
          </p:cNvPr>
          <p:cNvGrpSpPr/>
          <p:nvPr/>
        </p:nvGrpSpPr>
        <p:grpSpPr>
          <a:xfrm>
            <a:off x="7419600" y="4219200"/>
            <a:ext cx="4435200" cy="2041200"/>
            <a:chOff x="7447923" y="3517919"/>
            <a:chExt cx="4497055" cy="2236940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A598A0B1-5950-E1E1-4F48-193E5E397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7923" y="3517919"/>
              <a:ext cx="4497055" cy="2236940"/>
            </a:xfrm>
            <a:prstGeom prst="rect">
              <a:avLst/>
            </a:prstGeom>
          </p:spPr>
        </p:pic>
        <p:sp>
          <p:nvSpPr>
            <p:cNvPr id="47" name="Rectangle 5">
              <a:extLst>
                <a:ext uri="{FF2B5EF4-FFF2-40B4-BE49-F238E27FC236}">
                  <a16:creationId xmlns:a16="http://schemas.microsoft.com/office/drawing/2014/main" id="{B5C5EAA2-4364-696D-2AEE-6DF507712D43}"/>
                </a:ext>
              </a:extLst>
            </p:cNvPr>
            <p:cNvSpPr/>
            <p:nvPr/>
          </p:nvSpPr>
          <p:spPr>
            <a:xfrm>
              <a:off x="7447923" y="3517919"/>
              <a:ext cx="4497055" cy="2236940"/>
            </a:xfrm>
            <a:prstGeom prst="rect">
              <a:avLst/>
            </a:prstGeom>
            <a:solidFill>
              <a:schemeClr val="bg1">
                <a:lumMod val="50000"/>
                <a:alpha val="14902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8" name="TextBox 3">
            <a:extLst>
              <a:ext uri="{FF2B5EF4-FFF2-40B4-BE49-F238E27FC236}">
                <a16:creationId xmlns:a16="http://schemas.microsoft.com/office/drawing/2014/main" id="{644B619F-1579-B2C7-D139-B39770843D81}"/>
              </a:ext>
            </a:extLst>
          </p:cNvPr>
          <p:cNvSpPr txBox="1"/>
          <p:nvPr/>
        </p:nvSpPr>
        <p:spPr>
          <a:xfrm>
            <a:off x="8039101" y="2893212"/>
            <a:ext cx="3517897" cy="104156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We create a dummy variable, which captures whether the wine type is rather a white wine (=1) or a red wine (=0) based on partitioning the dataset on the most differentiating features (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total_sulfur_dioxide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, chlorides and 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volatile_acidity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). </a:t>
            </a:r>
          </a:p>
        </p:txBody>
      </p:sp>
      <p:sp>
        <p:nvSpPr>
          <p:cNvPr id="10" name="TextBox 16">
            <a:extLst>
              <a:ext uri="{FF2B5EF4-FFF2-40B4-BE49-F238E27FC236}">
                <a16:creationId xmlns:a16="http://schemas.microsoft.com/office/drawing/2014/main" id="{1DFC04A7-A8F9-E5AA-1007-8AAAA2408DF1}"/>
              </a:ext>
            </a:extLst>
          </p:cNvPr>
          <p:cNvSpPr txBox="1"/>
          <p:nvPr/>
        </p:nvSpPr>
        <p:spPr>
          <a:xfrm>
            <a:off x="7347202" y="6230085"/>
            <a:ext cx="4977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50" i="1">
                <a:solidFill>
                  <a:srgbClr val="1A1C1E"/>
                </a:solidFill>
                <a:latin typeface="Google Sans Text"/>
              </a:rPr>
              <a:t>Table 2: Descriptions of the features and the target variable after feature engineering.</a:t>
            </a:r>
          </a:p>
        </p:txBody>
      </p:sp>
    </p:spTree>
    <p:extLst>
      <p:ext uri="{BB962C8B-B14F-4D97-AF65-F5344CB8AC3E}">
        <p14:creationId xmlns:p14="http://schemas.microsoft.com/office/powerpoint/2010/main" val="1616967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80AD6-17A2-61B4-10B1-1A3FDCCC51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B03DE21D-9806-BBDE-6FD2-148F77AD5F41}"/>
              </a:ext>
            </a:extLst>
          </p:cNvPr>
          <p:cNvSpPr/>
          <p:nvPr/>
        </p:nvSpPr>
        <p:spPr>
          <a:xfrm>
            <a:off x="0" y="1255883"/>
            <a:ext cx="12192000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8E1ADB81-E3D2-302A-2B3D-F6B112B77D44}"/>
              </a:ext>
            </a:extLst>
          </p:cNvPr>
          <p:cNvSpPr/>
          <p:nvPr/>
        </p:nvSpPr>
        <p:spPr>
          <a:xfrm>
            <a:off x="7281134" y="1521874"/>
            <a:ext cx="4779059" cy="4909406"/>
          </a:xfrm>
          <a:prstGeom prst="rect">
            <a:avLst/>
          </a:prstGeom>
          <a:solidFill>
            <a:srgbClr val="F37021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66B460A-0CDE-70D4-A795-E560A1A9FB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dummy</a:t>
            </a:r>
            <a:r>
              <a:rPr lang="de-DE"/>
              <a:t> variable to </a:t>
            </a:r>
            <a:r>
              <a:rPr lang="de-DE" err="1"/>
              <a:t>resemble</a:t>
            </a:r>
            <a:r>
              <a:rPr lang="de-DE"/>
              <a:t> either </a:t>
            </a:r>
            <a:r>
              <a:rPr lang="de-DE" err="1"/>
              <a:t>whit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red</a:t>
            </a:r>
            <a:r>
              <a:rPr lang="de-DE"/>
              <a:t> </a:t>
            </a:r>
            <a:r>
              <a:rPr lang="de-DE" err="1"/>
              <a:t>wine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F192E5-9618-2BA4-5BAD-200229E660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Feature selection and </a:t>
            </a:r>
            <a:r>
              <a:rPr lang="de-DE" err="1"/>
              <a:t>engineering</a:t>
            </a:r>
            <a:endParaRPr lang="de-CH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1531964-6A09-C81D-B920-AAD2A82426A7}"/>
              </a:ext>
            </a:extLst>
          </p:cNvPr>
          <p:cNvSpPr/>
          <p:nvPr/>
        </p:nvSpPr>
        <p:spPr>
          <a:xfrm>
            <a:off x="433749" y="1584961"/>
            <a:ext cx="3283165" cy="4786020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Arrow: Pentagon 24">
            <a:extLst>
              <a:ext uri="{FF2B5EF4-FFF2-40B4-BE49-F238E27FC236}">
                <a16:creationId xmlns:a16="http://schemas.microsoft.com/office/drawing/2014/main" id="{9B97381D-3E42-EB86-53CD-56C48A636245}"/>
              </a:ext>
            </a:extLst>
          </p:cNvPr>
          <p:cNvSpPr/>
          <p:nvPr/>
        </p:nvSpPr>
        <p:spPr>
          <a:xfrm>
            <a:off x="433748" y="1312322"/>
            <a:ext cx="3420000" cy="275276"/>
          </a:xfrm>
          <a:prstGeom prst="homePlate">
            <a:avLst/>
          </a:prstGeom>
          <a:solidFill>
            <a:srgbClr val="0048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latin typeface="Google Sans Text"/>
              </a:rPr>
              <a:t>Dependent Variable: Wine Quality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CBF8050-3E65-F2DC-255C-E528F87D06C3}"/>
              </a:ext>
            </a:extLst>
          </p:cNvPr>
          <p:cNvSpPr/>
          <p:nvPr/>
        </p:nvSpPr>
        <p:spPr>
          <a:xfrm>
            <a:off x="3849222" y="1584961"/>
            <a:ext cx="3283165" cy="4786020"/>
          </a:xfrm>
          <a:prstGeom prst="rect">
            <a:avLst/>
          </a:prstGeom>
          <a:solidFill>
            <a:schemeClr val="bg1">
              <a:lumMod val="85000"/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Chevron 25">
            <a:extLst>
              <a:ext uri="{FF2B5EF4-FFF2-40B4-BE49-F238E27FC236}">
                <a16:creationId xmlns:a16="http://schemas.microsoft.com/office/drawing/2014/main" id="{F564B6F5-F13B-93A2-6535-AA9C6E3226AB}"/>
              </a:ext>
            </a:extLst>
          </p:cNvPr>
          <p:cNvSpPr/>
          <p:nvPr/>
        </p:nvSpPr>
        <p:spPr>
          <a:xfrm>
            <a:off x="3849222" y="1312322"/>
            <a:ext cx="3420000" cy="275276"/>
          </a:xfrm>
          <a:prstGeom prst="chevron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Google Sans Text"/>
              </a:rPr>
              <a:t>Features</a:t>
            </a:r>
          </a:p>
        </p:txBody>
      </p:sp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2A6E89C3-E0C3-A32F-132D-CC702D805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661684"/>
              </p:ext>
            </p:extLst>
          </p:nvPr>
        </p:nvGraphicFramePr>
        <p:xfrm>
          <a:off x="878121" y="3805841"/>
          <a:ext cx="2297564" cy="195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164">
                  <a:extLst>
                    <a:ext uri="{9D8B030D-6E8A-4147-A177-3AD203B41FA5}">
                      <a16:colId xmlns:a16="http://schemas.microsoft.com/office/drawing/2014/main" val="178197085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041014150"/>
                    </a:ext>
                  </a:extLst>
                </a:gridCol>
              </a:tblGrid>
              <a:tr h="147781"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Quality Sco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Obs.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9792436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algn="l"/>
                      <a:r>
                        <a:rPr lang="en-GB" sz="1000"/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047150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algn="l"/>
                      <a:r>
                        <a:rPr lang="en-GB" sz="1000"/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935209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91638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402678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790986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6250543"/>
                  </a:ext>
                </a:extLst>
              </a:tr>
              <a:tr h="1477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000"/>
                        <a:t>3 000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350890"/>
                  </a:ext>
                </a:extLst>
              </a:tr>
            </a:tbl>
          </a:graphicData>
        </a:graphic>
      </p:graphicFrame>
      <p:sp>
        <p:nvSpPr>
          <p:cNvPr id="14" name="TextBox 3">
            <a:extLst>
              <a:ext uri="{FF2B5EF4-FFF2-40B4-BE49-F238E27FC236}">
                <a16:creationId xmlns:a16="http://schemas.microsoft.com/office/drawing/2014/main" id="{2BFBB42A-0930-6B24-B837-BED7DDAA3795}"/>
              </a:ext>
            </a:extLst>
          </p:cNvPr>
          <p:cNvSpPr txBox="1"/>
          <p:nvPr/>
        </p:nvSpPr>
        <p:spPr>
          <a:xfrm>
            <a:off x="543068" y="1758176"/>
            <a:ext cx="3131100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dependent variable measures the wine quality on an ordinal scale from 3 (lowest) to 9 (highest)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C07CD02B-065A-CB4F-224D-626765576D34}"/>
              </a:ext>
            </a:extLst>
          </p:cNvPr>
          <p:cNvSpPr txBox="1"/>
          <p:nvPr/>
        </p:nvSpPr>
        <p:spPr>
          <a:xfrm>
            <a:off x="543068" y="2454706"/>
            <a:ext cx="3240000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ine quality is balanced across all quality scores; each </a:t>
            </a:r>
            <a:r>
              <a:rPr lang="en-US" sz="1200">
                <a:solidFill>
                  <a:srgbClr val="1A1C1E"/>
                </a:solidFill>
                <a:latin typeface="Google Sans Text"/>
              </a:rPr>
              <a:t>consist of 3 000 observations in the dataset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57A39845-DC48-9456-5CCA-22389AA895B9}"/>
              </a:ext>
            </a:extLst>
          </p:cNvPr>
          <p:cNvSpPr txBox="1"/>
          <p:nvPr/>
        </p:nvSpPr>
        <p:spPr>
          <a:xfrm>
            <a:off x="543068" y="3152690"/>
            <a:ext cx="3131100" cy="4696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he dependent variable is set up as a factor to retain the ordinality of the scale.</a:t>
            </a: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5497D50E-F981-450C-B412-884F014AEB64}"/>
              </a:ext>
            </a:extLst>
          </p:cNvPr>
          <p:cNvSpPr txBox="1"/>
          <p:nvPr/>
        </p:nvSpPr>
        <p:spPr>
          <a:xfrm>
            <a:off x="3864623" y="1823560"/>
            <a:ext cx="3240000" cy="12390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In terms of multicollinearity, we encounter high correlations between most of our features. Amongst others, residual sugar and density show a correlation of 0.79 whilst residual sugar and free sulfur dioxide are also highly correlated (0.78).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3DAD7238-F8E2-E937-38EA-2291DBECDED4}"/>
              </a:ext>
            </a:extLst>
          </p:cNvPr>
          <p:cNvSpPr txBox="1"/>
          <p:nvPr/>
        </p:nvSpPr>
        <p:spPr>
          <a:xfrm>
            <a:off x="3864623" y="4186732"/>
            <a:ext cx="3240000" cy="8492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variances and scale of our features differ by several orders of magnitude, thus, and to prepare the data properly for regularization we standardize the features before modeling.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36269552-E4E3-33F2-104E-BE8C918312AF}"/>
              </a:ext>
            </a:extLst>
          </p:cNvPr>
          <p:cNvSpPr txBox="1"/>
          <p:nvPr/>
        </p:nvSpPr>
        <p:spPr>
          <a:xfrm>
            <a:off x="4389701" y="1623640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Multicollinearity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F3DA831A-B607-5021-068A-790FCAF1C5E8}"/>
              </a:ext>
            </a:extLst>
          </p:cNvPr>
          <p:cNvSpPr txBox="1"/>
          <p:nvPr/>
        </p:nvSpPr>
        <p:spPr>
          <a:xfrm>
            <a:off x="4389701" y="399972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Standardiza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0" name="TextBox 3">
            <a:extLst>
              <a:ext uri="{FF2B5EF4-FFF2-40B4-BE49-F238E27FC236}">
                <a16:creationId xmlns:a16="http://schemas.microsoft.com/office/drawing/2014/main" id="{85328F9F-859B-DB0E-ED71-9A758797658C}"/>
              </a:ext>
            </a:extLst>
          </p:cNvPr>
          <p:cNvSpPr txBox="1"/>
          <p:nvPr/>
        </p:nvSpPr>
        <p:spPr>
          <a:xfrm>
            <a:off x="4389701" y="5191854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Bimodality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B18E2892-7821-2AFB-8309-C79E230C740F}"/>
              </a:ext>
            </a:extLst>
          </p:cNvPr>
          <p:cNvSpPr txBox="1"/>
          <p:nvPr/>
        </p:nvSpPr>
        <p:spPr>
          <a:xfrm>
            <a:off x="3864623" y="5374697"/>
            <a:ext cx="3240000" cy="8509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Most features show a bimodal distribution (e.g. density, citric acid, and others). This is likely due to the inclusion of both red and white wines in the dataset. </a:t>
            </a:r>
            <a:endParaRPr lang="en-US" sz="12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6E8CDD80-7228-E8D2-62CC-E0A7E2D0DFDA}"/>
              </a:ext>
            </a:extLst>
          </p:cNvPr>
          <p:cNvSpPr txBox="1"/>
          <p:nvPr/>
        </p:nvSpPr>
        <p:spPr>
          <a:xfrm>
            <a:off x="8039102" y="1808001"/>
            <a:ext cx="3517897" cy="65684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Even though we encounter </a:t>
            </a:r>
            <a:r>
              <a:rPr lang="en-US" sz="1050">
                <a:solidFill>
                  <a:srgbClr val="1A1C1E"/>
                </a:solidFill>
                <a:latin typeface="Google Sans Text"/>
              </a:rPr>
              <a:t>high correlations, none are higher than 0.9 whilst all show at least low predictive power (in terms of informational value).</a:t>
            </a:r>
            <a:endParaRPr lang="en-US" sz="105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7" name="TextBox 3">
            <a:extLst>
              <a:ext uri="{FF2B5EF4-FFF2-40B4-BE49-F238E27FC236}">
                <a16:creationId xmlns:a16="http://schemas.microsoft.com/office/drawing/2014/main" id="{E6472ECC-D0B0-37ED-C82E-0E75221DE8DF}"/>
              </a:ext>
            </a:extLst>
          </p:cNvPr>
          <p:cNvSpPr txBox="1"/>
          <p:nvPr/>
        </p:nvSpPr>
        <p:spPr>
          <a:xfrm>
            <a:off x="8542855" y="1603613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Selection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8" name="TextBox 3">
            <a:extLst>
              <a:ext uri="{FF2B5EF4-FFF2-40B4-BE49-F238E27FC236}">
                <a16:creationId xmlns:a16="http://schemas.microsoft.com/office/drawing/2014/main" id="{27A11386-5549-372E-828C-213633EEFA60}"/>
              </a:ext>
            </a:extLst>
          </p:cNvPr>
          <p:cNvSpPr txBox="1"/>
          <p:nvPr/>
        </p:nvSpPr>
        <p:spPr>
          <a:xfrm>
            <a:off x="8567271" y="269447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Feature </a:t>
            </a:r>
            <a:r>
              <a:rPr lang="de-DE" sz="1200" b="1" err="1">
                <a:latin typeface="Google Sans Text"/>
              </a:rPr>
              <a:t>engineering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3" name="Arrow: Chevron 26">
            <a:extLst>
              <a:ext uri="{FF2B5EF4-FFF2-40B4-BE49-F238E27FC236}">
                <a16:creationId xmlns:a16="http://schemas.microsoft.com/office/drawing/2014/main" id="{79EA6E7B-92C5-551C-DF6C-DBAE1899CC52}"/>
              </a:ext>
            </a:extLst>
          </p:cNvPr>
          <p:cNvSpPr/>
          <p:nvPr/>
        </p:nvSpPr>
        <p:spPr>
          <a:xfrm>
            <a:off x="7252527" y="1312322"/>
            <a:ext cx="4939473" cy="275276"/>
          </a:xfrm>
          <a:prstGeom prst="chevron">
            <a:avLst/>
          </a:prstGeom>
          <a:solidFill>
            <a:srgbClr val="F3702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Google Sans Text"/>
              </a:rPr>
              <a:t>Feature selection and engineering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C1B7FC8D-0F32-50C3-3CE8-548390C549D3}"/>
              </a:ext>
            </a:extLst>
          </p:cNvPr>
          <p:cNvSpPr txBox="1"/>
          <p:nvPr/>
        </p:nvSpPr>
        <p:spPr>
          <a:xfrm>
            <a:off x="4401869" y="303968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Informational</a:t>
            </a:r>
            <a:r>
              <a:rPr lang="de-DE" sz="1200" b="1">
                <a:latin typeface="Google Sans Text"/>
              </a:rPr>
              <a:t> Value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24" name="TextBox 3">
            <a:extLst>
              <a:ext uri="{FF2B5EF4-FFF2-40B4-BE49-F238E27FC236}">
                <a16:creationId xmlns:a16="http://schemas.microsoft.com/office/drawing/2014/main" id="{B5F66AFC-69B1-C23F-12A5-1980D12BBDA0}"/>
              </a:ext>
            </a:extLst>
          </p:cNvPr>
          <p:cNvSpPr txBox="1"/>
          <p:nvPr/>
        </p:nvSpPr>
        <p:spPr>
          <a:xfrm>
            <a:off x="3864623" y="3256216"/>
            <a:ext cx="3333918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e discovered that density and total and free sulfur are features with a high predictive power, followed by residual sugar and chlorides.</a:t>
            </a: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id="{34DD0D49-BA28-8630-F000-E21B077E0F2D}"/>
              </a:ext>
            </a:extLst>
          </p:cNvPr>
          <p:cNvSpPr txBox="1"/>
          <p:nvPr/>
        </p:nvSpPr>
        <p:spPr>
          <a:xfrm>
            <a:off x="8039101" y="2893212"/>
            <a:ext cx="3517897" cy="104156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We create a dummy variable, which captures whether the wine type is rather a white wine (=1) or a red wine (=0) based on partitioning the dataset on the most differentiating features (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total_sulfur_dioxide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, chlorides and </a:t>
            </a:r>
            <a:r>
              <a:rPr lang="en-US" sz="1050" err="1">
                <a:solidFill>
                  <a:srgbClr val="1A1C1E"/>
                </a:solidFill>
                <a:effectLst/>
                <a:latin typeface="Google Sans Text"/>
              </a:rPr>
              <a:t>volatile_acidity</a:t>
            </a:r>
            <a:r>
              <a:rPr lang="en-US" sz="1050">
                <a:solidFill>
                  <a:srgbClr val="1A1C1E"/>
                </a:solidFill>
                <a:effectLst/>
                <a:latin typeface="Google Sans Text"/>
              </a:rPr>
              <a:t>). 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1596D5C-05BC-FA3E-9E25-99BE96D7F8FC}"/>
              </a:ext>
            </a:extLst>
          </p:cNvPr>
          <p:cNvGrpSpPr/>
          <p:nvPr/>
        </p:nvGrpSpPr>
        <p:grpSpPr>
          <a:xfrm>
            <a:off x="7420063" y="4219726"/>
            <a:ext cx="4435428" cy="2041334"/>
            <a:chOff x="7213942" y="3804123"/>
            <a:chExt cx="4502621" cy="2236940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343B9CEC-C6BB-94E6-0C87-15E9BAA21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219508" y="3804123"/>
              <a:ext cx="4497055" cy="2236940"/>
            </a:xfrm>
            <a:prstGeom prst="rect">
              <a:avLst/>
            </a:prstGeom>
          </p:spPr>
        </p:pic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6CE5334F-2910-D0A6-87D7-CA72438EE8D4}"/>
                </a:ext>
              </a:extLst>
            </p:cNvPr>
            <p:cNvSpPr/>
            <p:nvPr/>
          </p:nvSpPr>
          <p:spPr>
            <a:xfrm>
              <a:off x="7213942" y="3804123"/>
              <a:ext cx="4497055" cy="2236940"/>
            </a:xfrm>
            <a:prstGeom prst="rect">
              <a:avLst/>
            </a:prstGeom>
            <a:solidFill>
              <a:srgbClr val="F37021">
                <a:alpha val="1490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6" name="TextBox 16">
            <a:extLst>
              <a:ext uri="{FF2B5EF4-FFF2-40B4-BE49-F238E27FC236}">
                <a16:creationId xmlns:a16="http://schemas.microsoft.com/office/drawing/2014/main" id="{C4746B8B-5A58-0FCC-C657-A8080F3D2833}"/>
              </a:ext>
            </a:extLst>
          </p:cNvPr>
          <p:cNvSpPr txBox="1"/>
          <p:nvPr/>
        </p:nvSpPr>
        <p:spPr>
          <a:xfrm>
            <a:off x="7347202" y="6230085"/>
            <a:ext cx="4977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50" i="1">
                <a:solidFill>
                  <a:srgbClr val="1A1C1E"/>
                </a:solidFill>
                <a:latin typeface="Google Sans Text"/>
              </a:rPr>
              <a:t>Table 2: Descriptions of the features and the target variable after feature engineering.</a:t>
            </a:r>
          </a:p>
        </p:txBody>
      </p:sp>
    </p:spTree>
    <p:extLst>
      <p:ext uri="{BB962C8B-B14F-4D97-AF65-F5344CB8AC3E}">
        <p14:creationId xmlns:p14="http://schemas.microsoft.com/office/powerpoint/2010/main" val="436156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51D74-8A2F-A9C1-F666-28E48C6C1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6">
            <a:extLst>
              <a:ext uri="{FF2B5EF4-FFF2-40B4-BE49-F238E27FC236}">
                <a16:creationId xmlns:a16="http://schemas.microsoft.com/office/drawing/2014/main" id="{B32B9C1C-9C21-D65F-43E6-DE1B89553895}"/>
              </a:ext>
            </a:extLst>
          </p:cNvPr>
          <p:cNvSpPr/>
          <p:nvPr/>
        </p:nvSpPr>
        <p:spPr>
          <a:xfrm>
            <a:off x="4830" y="1255883"/>
            <a:ext cx="5834449" cy="5175397"/>
          </a:xfrm>
          <a:prstGeom prst="rect">
            <a:avLst/>
          </a:prstGeom>
          <a:solidFill>
            <a:srgbClr val="B7CEF7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369BD79-7B3A-A9F8-7486-28A28D1BC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err="1"/>
              <a:t>Macro</a:t>
            </a:r>
            <a:r>
              <a:rPr lang="de-DE"/>
              <a:t> F1-score </a:t>
            </a:r>
            <a:r>
              <a:rPr lang="de-DE" err="1"/>
              <a:t>is</a:t>
            </a:r>
            <a:r>
              <a:rPr lang="de-DE"/>
              <a:t> used to </a:t>
            </a:r>
            <a:r>
              <a:rPr lang="de-DE" err="1"/>
              <a:t>compar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erformanc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all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implemented</a:t>
            </a:r>
            <a:r>
              <a:rPr lang="de-DE"/>
              <a:t> </a:t>
            </a:r>
            <a:r>
              <a:rPr lang="de-DE" err="1"/>
              <a:t>models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B67FC65-CD21-ADB3-E194-AA39E1CA30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Loss-measure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D2563DEC-4D7C-1F36-CD0E-7078B4285B01}"/>
              </a:ext>
            </a:extLst>
          </p:cNvPr>
          <p:cNvSpPr/>
          <p:nvPr/>
        </p:nvSpPr>
        <p:spPr>
          <a:xfrm>
            <a:off x="6357550" y="1255883"/>
            <a:ext cx="5834449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ABDC97C3-DA7C-15F6-3188-D182388ADB21}"/>
                  </a:ext>
                </a:extLst>
              </p:cNvPr>
              <p:cNvSpPr txBox="1"/>
              <p:nvPr/>
            </p:nvSpPr>
            <p:spPr>
              <a:xfrm>
                <a:off x="214415" y="1909806"/>
                <a:ext cx="2726964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1=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∗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𝑃𝑟𝑒𝑐𝑖𝑠𝑖𝑜𝑛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𝑃𝑟𝑒𝑐𝑖𝑠𝑖𝑜𝑛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>
                  <a:latin typeface="Google Sans Text"/>
                </a:endParaRPr>
              </a:p>
            </p:txBody>
          </p:sp>
        </mc:Choice>
        <mc:Fallback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ABDC97C3-DA7C-15F6-3188-D182388ADB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415" y="1909806"/>
                <a:ext cx="2726964" cy="5127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B3331894-E833-7B45-6859-1C7A4BC065E8}"/>
                  </a:ext>
                </a:extLst>
              </p:cNvPr>
              <p:cNvSpPr txBox="1"/>
              <p:nvPr/>
            </p:nvSpPr>
            <p:spPr>
              <a:xfrm>
                <a:off x="214415" y="2694378"/>
                <a:ext cx="4420377" cy="4674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𝑀𝑎𝑐𝑟𝑜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1=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𝑐𝑙𝑎𝑠𝑠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𝑐𝑙𝑎𝑠𝑠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 ….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𝑐𝑙𝑎𝑠𝑠𝑁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B3331894-E833-7B45-6859-1C7A4BC065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415" y="2694378"/>
                <a:ext cx="4420377" cy="467436"/>
              </a:xfrm>
              <a:prstGeom prst="rect">
                <a:avLst/>
              </a:prstGeom>
              <a:blipFill>
                <a:blip r:embed="rId3"/>
                <a:stretch>
                  <a:fillRect r="-1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3">
            <a:extLst>
              <a:ext uri="{FF2B5EF4-FFF2-40B4-BE49-F238E27FC236}">
                <a16:creationId xmlns:a16="http://schemas.microsoft.com/office/drawing/2014/main" id="{55F1530A-43D5-B5D6-45A4-8BBDD8CCC432}"/>
              </a:ext>
            </a:extLst>
          </p:cNvPr>
          <p:cNvSpPr txBox="1"/>
          <p:nvPr/>
        </p:nvSpPr>
        <p:spPr>
          <a:xfrm>
            <a:off x="186011" y="3246478"/>
            <a:ext cx="3240000" cy="2772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  <a:spcAft>
                <a:spcPts val="1350"/>
              </a:spcAft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,w</a:t>
            </a: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here N is the total number of classes (6).</a:t>
            </a: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0D7A2400-B69E-E1D1-1559-AB2EFD1AC8FB}"/>
              </a:ext>
            </a:extLst>
          </p:cNvPr>
          <p:cNvSpPr txBox="1"/>
          <p:nvPr/>
        </p:nvSpPr>
        <p:spPr>
          <a:xfrm>
            <a:off x="261683" y="3796326"/>
            <a:ext cx="3240000" cy="11236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quality scores are balanced in our dataset; thus, accuracy would also work.</a:t>
            </a:r>
          </a:p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Macro F1 focuses on a balanced performance: both precision and recall are incorporated in our loss-measure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C5E54745-31F2-5DFA-BD83-7607F1B5CC1C}"/>
                  </a:ext>
                </a:extLst>
              </p:cNvPr>
              <p:cNvSpPr txBox="1"/>
              <p:nvPr/>
            </p:nvSpPr>
            <p:spPr>
              <a:xfrm>
                <a:off x="6702050" y="1935959"/>
                <a:ext cx="3193888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𝐴𝑐𝑐𝑢𝑟𝑎𝑐𝑦</m:t>
                      </m:r>
                      <m:r>
                        <a:rPr lang="de-CH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C5E54745-31F2-5DFA-BD83-7607F1B5CC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2050" y="1935959"/>
                <a:ext cx="3193888" cy="51270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3">
            <a:extLst>
              <a:ext uri="{FF2B5EF4-FFF2-40B4-BE49-F238E27FC236}">
                <a16:creationId xmlns:a16="http://schemas.microsoft.com/office/drawing/2014/main" id="{E5C61104-B03A-39BF-06C3-438A8BC62896}"/>
              </a:ext>
            </a:extLst>
          </p:cNvPr>
          <p:cNvSpPr txBox="1"/>
          <p:nvPr/>
        </p:nvSpPr>
        <p:spPr>
          <a:xfrm>
            <a:off x="6702050" y="4324211"/>
            <a:ext cx="3929543" cy="12390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P: Actual quality is 7. Model predicts 7.</a:t>
            </a:r>
            <a:endParaRPr lang="en-US" sz="1200">
              <a:solidFill>
                <a:srgbClr val="1A1C1E"/>
              </a:solidFill>
              <a:latin typeface="Google Sans Text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N: Actual quality is 7. Model predicts something els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FP: Actual quality is NOT 7. Model predicts 7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N: Actual quality is NOT 7. Model does NOT predict a 7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n-US" sz="1200">
              <a:solidFill>
                <a:srgbClr val="1A1C1E"/>
              </a:solidFill>
              <a:latin typeface="Google Sans Text"/>
            </a:endParaRPr>
          </a:p>
          <a:p>
            <a:pPr>
              <a:lnSpc>
                <a:spcPts val="1500"/>
              </a:lnSpc>
            </a:pPr>
            <a:r>
              <a:rPr lang="en-US" sz="1100" i="1">
                <a:solidFill>
                  <a:srgbClr val="1A1C1E"/>
                </a:solidFill>
                <a:effectLst/>
                <a:latin typeface="Google Sans Text"/>
              </a:rPr>
              <a:t>(same for all other classes)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848C8D3C-AE82-0DEA-9DFD-D272A1700720}"/>
                  </a:ext>
                </a:extLst>
              </p:cNvPr>
              <p:cNvSpPr txBox="1"/>
              <p:nvPr/>
            </p:nvSpPr>
            <p:spPr>
              <a:xfrm>
                <a:off x="6702050" y="2653513"/>
                <a:ext cx="2161553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𝑃𝑟𝑒𝑐𝑖𝑠𝑖𝑜𝑛</m:t>
                      </m:r>
                      <m:r>
                        <a:rPr lang="de-CH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848C8D3C-AE82-0DEA-9DFD-D272A17007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2050" y="2653513"/>
                <a:ext cx="2161553" cy="51270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167DBAB5-A542-4038-B91A-3D0C40A3F911}"/>
                  </a:ext>
                </a:extLst>
              </p:cNvPr>
              <p:cNvSpPr txBox="1"/>
              <p:nvPr/>
            </p:nvSpPr>
            <p:spPr>
              <a:xfrm>
                <a:off x="6702050" y="3266820"/>
                <a:ext cx="3001656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𝑅𝑒𝑐𝑎𝑙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𝑆𝑒𝑛𝑠𝑖𝑡𝑖𝑣𝑖𝑡𝑦</m:t>
                      </m:r>
                      <m:r>
                        <a:rPr lang="de-CH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167DBAB5-A542-4038-B91A-3D0C40A3F9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2050" y="3266820"/>
                <a:ext cx="3001656" cy="51270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Connector 32">
            <a:extLst>
              <a:ext uri="{FF2B5EF4-FFF2-40B4-BE49-F238E27FC236}">
                <a16:creationId xmlns:a16="http://schemas.microsoft.com/office/drawing/2014/main" id="{BF054207-1800-66E3-74F4-48BAFA51690F}"/>
              </a:ext>
            </a:extLst>
          </p:cNvPr>
          <p:cNvCxnSpPr>
            <a:cxnSpLocks/>
          </p:cNvCxnSpPr>
          <p:nvPr/>
        </p:nvCxnSpPr>
        <p:spPr>
          <a:xfrm>
            <a:off x="6096000" y="1792420"/>
            <a:ext cx="0" cy="4418771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3">
            <a:extLst>
              <a:ext uri="{FF2B5EF4-FFF2-40B4-BE49-F238E27FC236}">
                <a16:creationId xmlns:a16="http://schemas.microsoft.com/office/drawing/2014/main" id="{3BA71C0D-4940-3517-B94A-D0263F0106C0}"/>
              </a:ext>
            </a:extLst>
          </p:cNvPr>
          <p:cNvSpPr txBox="1"/>
          <p:nvPr/>
        </p:nvSpPr>
        <p:spPr>
          <a:xfrm>
            <a:off x="6156717" y="1317502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Additional </a:t>
            </a:r>
            <a:r>
              <a:rPr lang="de-DE" sz="1200" b="1" err="1">
                <a:latin typeface="Google Sans Text"/>
              </a:rPr>
              <a:t>formulas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21" name="Straight Connector 32">
            <a:extLst>
              <a:ext uri="{FF2B5EF4-FFF2-40B4-BE49-F238E27FC236}">
                <a16:creationId xmlns:a16="http://schemas.microsoft.com/office/drawing/2014/main" id="{4370355D-88C1-39D0-1E72-215269C6541E}"/>
              </a:ext>
            </a:extLst>
          </p:cNvPr>
          <p:cNvCxnSpPr>
            <a:cxnSpLocks/>
          </p:cNvCxnSpPr>
          <p:nvPr/>
        </p:nvCxnSpPr>
        <p:spPr>
          <a:xfrm flipH="1" flipV="1">
            <a:off x="6583680" y="1589719"/>
            <a:ext cx="5377661" cy="3436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33">
            <a:extLst>
              <a:ext uri="{FF2B5EF4-FFF2-40B4-BE49-F238E27FC236}">
                <a16:creationId xmlns:a16="http://schemas.microsoft.com/office/drawing/2014/main" id="{E1DA35F2-04AD-97AE-8392-194B119F5A44}"/>
              </a:ext>
            </a:extLst>
          </p:cNvPr>
          <p:cNvGrpSpPr/>
          <p:nvPr/>
        </p:nvGrpSpPr>
        <p:grpSpPr>
          <a:xfrm rot="10800000">
            <a:off x="5931660" y="3429000"/>
            <a:ext cx="253640" cy="425941"/>
            <a:chOff x="5986272" y="5021580"/>
            <a:chExt cx="120345" cy="297180"/>
          </a:xfrm>
        </p:grpSpPr>
        <p:sp>
          <p:nvSpPr>
            <p:cNvPr id="30" name="Rectangle 34">
              <a:extLst>
                <a:ext uri="{FF2B5EF4-FFF2-40B4-BE49-F238E27FC236}">
                  <a16:creationId xmlns:a16="http://schemas.microsoft.com/office/drawing/2014/main" id="{AC6D10E0-F178-5F9A-120B-C6A786B10EB9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Arrow: Chevron 35">
              <a:extLst>
                <a:ext uri="{FF2B5EF4-FFF2-40B4-BE49-F238E27FC236}">
                  <a16:creationId xmlns:a16="http://schemas.microsoft.com/office/drawing/2014/main" id="{3B7E9C3E-898B-5861-26C0-DF954DD69EA8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3" name="TextBox 3">
            <a:extLst>
              <a:ext uri="{FF2B5EF4-FFF2-40B4-BE49-F238E27FC236}">
                <a16:creationId xmlns:a16="http://schemas.microsoft.com/office/drawing/2014/main" id="{B48F98A2-CC69-AB38-911C-A8A9C071098E}"/>
              </a:ext>
            </a:extLst>
          </p:cNvPr>
          <p:cNvSpPr txBox="1"/>
          <p:nvPr/>
        </p:nvSpPr>
        <p:spPr>
          <a:xfrm>
            <a:off x="-370199" y="1317502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Macro</a:t>
            </a:r>
            <a:r>
              <a:rPr lang="de-DE" sz="1200" b="1">
                <a:latin typeface="Google Sans Text"/>
              </a:rPr>
              <a:t> F1-score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34" name="Straight Connector 32">
            <a:extLst>
              <a:ext uri="{FF2B5EF4-FFF2-40B4-BE49-F238E27FC236}">
                <a16:creationId xmlns:a16="http://schemas.microsoft.com/office/drawing/2014/main" id="{D4E2E57A-751C-A332-9AAB-590B03960D4F}"/>
              </a:ext>
            </a:extLst>
          </p:cNvPr>
          <p:cNvCxnSpPr>
            <a:cxnSpLocks/>
          </p:cNvCxnSpPr>
          <p:nvPr/>
        </p:nvCxnSpPr>
        <p:spPr>
          <a:xfrm flipH="1" flipV="1">
            <a:off x="214415" y="1589719"/>
            <a:ext cx="5377661" cy="3436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">
            <a:extLst>
              <a:ext uri="{FF2B5EF4-FFF2-40B4-BE49-F238E27FC236}">
                <a16:creationId xmlns:a16="http://schemas.microsoft.com/office/drawing/2014/main" id="{18BBD8B3-94F2-0CAE-22B0-49B3AABC55A5}"/>
              </a:ext>
            </a:extLst>
          </p:cNvPr>
          <p:cNvSpPr txBox="1"/>
          <p:nvPr/>
        </p:nvSpPr>
        <p:spPr>
          <a:xfrm>
            <a:off x="-370199" y="356792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Explanations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14" name="Straight Connector 32">
            <a:extLst>
              <a:ext uri="{FF2B5EF4-FFF2-40B4-BE49-F238E27FC236}">
                <a16:creationId xmlns:a16="http://schemas.microsoft.com/office/drawing/2014/main" id="{B656FC45-EA42-E9A1-5DD4-0C87B6838A23}"/>
              </a:ext>
            </a:extLst>
          </p:cNvPr>
          <p:cNvCxnSpPr>
            <a:cxnSpLocks/>
          </p:cNvCxnSpPr>
          <p:nvPr/>
        </p:nvCxnSpPr>
        <p:spPr>
          <a:xfrm flipH="1" flipV="1">
            <a:off x="261683" y="5268281"/>
            <a:ext cx="5330393" cy="21702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3">
            <a:extLst>
              <a:ext uri="{FF2B5EF4-FFF2-40B4-BE49-F238E27FC236}">
                <a16:creationId xmlns:a16="http://schemas.microsoft.com/office/drawing/2014/main" id="{EDE11FCB-0F2E-7284-A785-D0017DD8AB08}"/>
              </a:ext>
            </a:extLst>
          </p:cNvPr>
          <p:cNvSpPr txBox="1"/>
          <p:nvPr/>
        </p:nvSpPr>
        <p:spPr>
          <a:xfrm>
            <a:off x="-370202" y="503688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Data </a:t>
            </a:r>
            <a:r>
              <a:rPr lang="de-DE" sz="1200" b="1" err="1">
                <a:latin typeface="Google Sans Text"/>
              </a:rPr>
              <a:t>splitting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0AB209D6-E113-C191-D70E-821E6A9946D3}"/>
              </a:ext>
            </a:extLst>
          </p:cNvPr>
          <p:cNvSpPr txBox="1"/>
          <p:nvPr/>
        </p:nvSpPr>
        <p:spPr>
          <a:xfrm>
            <a:off x="261683" y="5399356"/>
            <a:ext cx="4273911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70% of the data is allocated to the training set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remaining 30% is reserved for the test set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e use 5-fold cross</a:t>
            </a:r>
            <a:r>
              <a:rPr lang="en-US" sz="1200">
                <a:solidFill>
                  <a:srgbClr val="1A1C1E"/>
                </a:solidFill>
                <a:latin typeface="Google Sans Text"/>
              </a:rPr>
              <a:t> validation for all models in the training set</a:t>
            </a:r>
            <a:r>
              <a:rPr lang="en-US" sz="1100">
                <a:solidFill>
                  <a:srgbClr val="1A1C1E"/>
                </a:solidFill>
                <a:latin typeface="Google Sans Text"/>
              </a:rPr>
              <a:t>.</a:t>
            </a:r>
            <a:endParaRPr lang="en-US" sz="1100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C16BC110-2E5C-C909-1E80-FB2148377D35}"/>
              </a:ext>
            </a:extLst>
          </p:cNvPr>
          <p:cNvSpPr/>
          <p:nvPr/>
        </p:nvSpPr>
        <p:spPr>
          <a:xfrm>
            <a:off x="213531" y="3597167"/>
            <a:ext cx="5455696" cy="1352039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</p:spTree>
    <p:extLst>
      <p:ext uri="{BB962C8B-B14F-4D97-AF65-F5344CB8AC3E}">
        <p14:creationId xmlns:p14="http://schemas.microsoft.com/office/powerpoint/2010/main" val="23031198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BDF25-1B5A-F8AB-14B8-EB5C90E457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6">
            <a:extLst>
              <a:ext uri="{FF2B5EF4-FFF2-40B4-BE49-F238E27FC236}">
                <a16:creationId xmlns:a16="http://schemas.microsoft.com/office/drawing/2014/main" id="{8219B203-F20C-958B-CA6F-2FE4A123DCD4}"/>
              </a:ext>
            </a:extLst>
          </p:cNvPr>
          <p:cNvSpPr/>
          <p:nvPr/>
        </p:nvSpPr>
        <p:spPr>
          <a:xfrm>
            <a:off x="4830" y="1255883"/>
            <a:ext cx="5834449" cy="5175397"/>
          </a:xfrm>
          <a:prstGeom prst="rect">
            <a:avLst/>
          </a:prstGeom>
          <a:solidFill>
            <a:srgbClr val="B7CEF7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0A901C0-5A7B-B21A-0A44-2FFE80CB63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err="1"/>
              <a:t>Macro</a:t>
            </a:r>
            <a:r>
              <a:rPr lang="de-DE"/>
              <a:t> F1-score </a:t>
            </a:r>
            <a:r>
              <a:rPr lang="de-DE" err="1"/>
              <a:t>is</a:t>
            </a:r>
            <a:r>
              <a:rPr lang="de-DE"/>
              <a:t> used to </a:t>
            </a:r>
            <a:r>
              <a:rPr lang="de-DE" err="1"/>
              <a:t>compar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erformanc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all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implemented</a:t>
            </a:r>
            <a:r>
              <a:rPr lang="de-DE"/>
              <a:t> </a:t>
            </a:r>
            <a:r>
              <a:rPr lang="de-DE" err="1"/>
              <a:t>models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7B5EA2-48C4-311B-1414-9080954FFC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Loss-measure.</a:t>
            </a:r>
            <a:endParaRPr lang="de-CH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8631B6D-B5B5-0212-4E8E-34456CFDCC2E}"/>
              </a:ext>
            </a:extLst>
          </p:cNvPr>
          <p:cNvSpPr/>
          <p:nvPr/>
        </p:nvSpPr>
        <p:spPr>
          <a:xfrm>
            <a:off x="6357550" y="1255883"/>
            <a:ext cx="5834449" cy="5175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0348D437-5E7C-9B15-EE8F-AE1F0D1E0586}"/>
                  </a:ext>
                </a:extLst>
              </p:cNvPr>
              <p:cNvSpPr txBox="1"/>
              <p:nvPr/>
            </p:nvSpPr>
            <p:spPr>
              <a:xfrm>
                <a:off x="214415" y="1909806"/>
                <a:ext cx="2726964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1=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∗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𝑃𝑟𝑒𝑐𝑖𝑠𝑖𝑜𝑛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𝑃𝑟𝑒𝑐𝑖𝑠𝑖𝑜𝑛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𝑒𝑐𝑎𝑙𝑙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>
                  <a:latin typeface="Google Sans Text"/>
                </a:endParaRPr>
              </a:p>
            </p:txBody>
          </p:sp>
        </mc:Choice>
        <mc:Fallback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0348D437-5E7C-9B15-EE8F-AE1F0D1E05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415" y="1909806"/>
                <a:ext cx="2726964" cy="5127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A354D530-EA44-DDAE-4B0D-045C6D2906B4}"/>
                  </a:ext>
                </a:extLst>
              </p:cNvPr>
              <p:cNvSpPr txBox="1"/>
              <p:nvPr/>
            </p:nvSpPr>
            <p:spPr>
              <a:xfrm>
                <a:off x="214415" y="2694378"/>
                <a:ext cx="4420377" cy="4674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𝑀𝑎𝑐𝑟𝑜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1=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𝑐𝑙𝑎𝑠𝑠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𝑐𝑙𝑎𝑠𝑠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 ….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𝑐𝑙𝑎𝑠𝑠𝑁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A354D530-EA44-DDAE-4B0D-045C6D2906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415" y="2694378"/>
                <a:ext cx="4420377" cy="467436"/>
              </a:xfrm>
              <a:prstGeom prst="rect">
                <a:avLst/>
              </a:prstGeom>
              <a:blipFill>
                <a:blip r:embed="rId3"/>
                <a:stretch>
                  <a:fillRect r="-1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3">
            <a:extLst>
              <a:ext uri="{FF2B5EF4-FFF2-40B4-BE49-F238E27FC236}">
                <a16:creationId xmlns:a16="http://schemas.microsoft.com/office/drawing/2014/main" id="{2E7E27B2-CABE-9384-540C-27DF48EA47E7}"/>
              </a:ext>
            </a:extLst>
          </p:cNvPr>
          <p:cNvSpPr txBox="1"/>
          <p:nvPr/>
        </p:nvSpPr>
        <p:spPr>
          <a:xfrm>
            <a:off x="186011" y="3246478"/>
            <a:ext cx="3240000" cy="2772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  <a:spcAft>
                <a:spcPts val="1350"/>
              </a:spcAft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,w</a:t>
            </a: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here N is the total number of classes (6).</a:t>
            </a: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E374ED9E-175E-9268-26C8-A294BD1D0280}"/>
              </a:ext>
            </a:extLst>
          </p:cNvPr>
          <p:cNvSpPr txBox="1"/>
          <p:nvPr/>
        </p:nvSpPr>
        <p:spPr>
          <a:xfrm>
            <a:off x="261683" y="3796326"/>
            <a:ext cx="3240000" cy="11236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quality scores are balanced in our dataset; thus, accuracy would also work.</a:t>
            </a:r>
          </a:p>
          <a:p>
            <a:pPr marL="171450" indent="-171450">
              <a:lnSpc>
                <a:spcPts val="15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Macro F1 focuses on a balanced performance: both precision and recall are incorporated in our loss-measure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67CA8E97-9F46-78EF-8CF2-67BA617A2CA7}"/>
                  </a:ext>
                </a:extLst>
              </p:cNvPr>
              <p:cNvSpPr txBox="1"/>
              <p:nvPr/>
            </p:nvSpPr>
            <p:spPr>
              <a:xfrm>
                <a:off x="6702050" y="1935959"/>
                <a:ext cx="3193888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𝐴𝑐𝑐𝑢𝑟𝑎𝑐𝑦</m:t>
                      </m:r>
                      <m:r>
                        <a:rPr lang="de-CH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67CA8E97-9F46-78EF-8CF2-67BA617A2C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2050" y="1935959"/>
                <a:ext cx="3193888" cy="51270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3">
            <a:extLst>
              <a:ext uri="{FF2B5EF4-FFF2-40B4-BE49-F238E27FC236}">
                <a16:creationId xmlns:a16="http://schemas.microsoft.com/office/drawing/2014/main" id="{64D32853-A63E-49BC-CA8F-721D5BFC99C0}"/>
              </a:ext>
            </a:extLst>
          </p:cNvPr>
          <p:cNvSpPr txBox="1"/>
          <p:nvPr/>
        </p:nvSpPr>
        <p:spPr>
          <a:xfrm>
            <a:off x="6702050" y="4324211"/>
            <a:ext cx="3929543" cy="12390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P: Actual quality is 7. Model predicts 7.</a:t>
            </a:r>
            <a:endParaRPr lang="en-US" sz="1200">
              <a:solidFill>
                <a:srgbClr val="1A1C1E"/>
              </a:solidFill>
              <a:latin typeface="Google Sans Text"/>
            </a:endParaRP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N: Actual quality is 7. Model predicts something else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FP: Actual quality is NOT 7. Model predicts 7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TN: Actual quality is NOT 7. Model does NOT predict a 7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n-US" sz="1200">
              <a:solidFill>
                <a:srgbClr val="1A1C1E"/>
              </a:solidFill>
              <a:latin typeface="Google Sans Text"/>
            </a:endParaRPr>
          </a:p>
          <a:p>
            <a:pPr>
              <a:lnSpc>
                <a:spcPts val="1500"/>
              </a:lnSpc>
            </a:pPr>
            <a:r>
              <a:rPr lang="en-US" sz="1100" i="1">
                <a:solidFill>
                  <a:srgbClr val="1A1C1E"/>
                </a:solidFill>
                <a:effectLst/>
                <a:latin typeface="Google Sans Text"/>
              </a:rPr>
              <a:t>(same for all other classes)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0323750-30E5-A619-4A97-5C580EE6CBD9}"/>
                  </a:ext>
                </a:extLst>
              </p:cNvPr>
              <p:cNvSpPr txBox="1"/>
              <p:nvPr/>
            </p:nvSpPr>
            <p:spPr>
              <a:xfrm>
                <a:off x="6702050" y="2653513"/>
                <a:ext cx="2161553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𝑃𝑟𝑒𝑐𝑖𝑠𝑖𝑜𝑛</m:t>
                      </m:r>
                      <m:r>
                        <a:rPr lang="de-CH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0323750-30E5-A619-4A97-5C580EE6CB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2050" y="2653513"/>
                <a:ext cx="2161553" cy="51270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1F8EBDE0-A9A8-DB6E-02D2-1A41AF43EB61}"/>
                  </a:ext>
                </a:extLst>
              </p:cNvPr>
              <p:cNvSpPr txBox="1"/>
              <p:nvPr/>
            </p:nvSpPr>
            <p:spPr>
              <a:xfrm>
                <a:off x="6702050" y="3266820"/>
                <a:ext cx="3001656" cy="5127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𝑅𝑒𝑐𝑎𝑙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𝑆𝑒𝑛𝑠𝑖𝑡𝑖𝑣𝑖𝑡𝑦</m:t>
                      </m:r>
                      <m:r>
                        <a:rPr lang="de-CH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CH" sz="1600">
                  <a:latin typeface="Google Sans Text"/>
                </a:endParaRPr>
              </a:p>
            </p:txBody>
          </p:sp>
        </mc:Choice>
        <mc:Fallback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1F8EBDE0-A9A8-DB6E-02D2-1A41AF43EB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2050" y="3266820"/>
                <a:ext cx="3001656" cy="51270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Connector 32">
            <a:extLst>
              <a:ext uri="{FF2B5EF4-FFF2-40B4-BE49-F238E27FC236}">
                <a16:creationId xmlns:a16="http://schemas.microsoft.com/office/drawing/2014/main" id="{BFF157AB-533C-9D16-8D6C-3922D9F2FBCC}"/>
              </a:ext>
            </a:extLst>
          </p:cNvPr>
          <p:cNvCxnSpPr>
            <a:cxnSpLocks/>
          </p:cNvCxnSpPr>
          <p:nvPr/>
        </p:nvCxnSpPr>
        <p:spPr>
          <a:xfrm>
            <a:off x="6096000" y="1792420"/>
            <a:ext cx="0" cy="4418771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3">
            <a:extLst>
              <a:ext uri="{FF2B5EF4-FFF2-40B4-BE49-F238E27FC236}">
                <a16:creationId xmlns:a16="http://schemas.microsoft.com/office/drawing/2014/main" id="{08901936-15D3-0818-D045-100D07CF5FC3}"/>
              </a:ext>
            </a:extLst>
          </p:cNvPr>
          <p:cNvSpPr txBox="1"/>
          <p:nvPr/>
        </p:nvSpPr>
        <p:spPr>
          <a:xfrm>
            <a:off x="6156717" y="1317502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Additional </a:t>
            </a:r>
            <a:r>
              <a:rPr lang="de-DE" sz="1200" b="1" err="1">
                <a:latin typeface="Google Sans Text"/>
              </a:rPr>
              <a:t>formulas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21" name="Straight Connector 32">
            <a:extLst>
              <a:ext uri="{FF2B5EF4-FFF2-40B4-BE49-F238E27FC236}">
                <a16:creationId xmlns:a16="http://schemas.microsoft.com/office/drawing/2014/main" id="{F03472C5-EF9B-EB80-BE09-E3ED365320EC}"/>
              </a:ext>
            </a:extLst>
          </p:cNvPr>
          <p:cNvCxnSpPr>
            <a:cxnSpLocks/>
          </p:cNvCxnSpPr>
          <p:nvPr/>
        </p:nvCxnSpPr>
        <p:spPr>
          <a:xfrm flipH="1" flipV="1">
            <a:off x="6583680" y="1589719"/>
            <a:ext cx="5377661" cy="3436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33">
            <a:extLst>
              <a:ext uri="{FF2B5EF4-FFF2-40B4-BE49-F238E27FC236}">
                <a16:creationId xmlns:a16="http://schemas.microsoft.com/office/drawing/2014/main" id="{2FECF485-DF18-A5F0-A433-18AA3B00BC52}"/>
              </a:ext>
            </a:extLst>
          </p:cNvPr>
          <p:cNvGrpSpPr/>
          <p:nvPr/>
        </p:nvGrpSpPr>
        <p:grpSpPr>
          <a:xfrm rot="10800000">
            <a:off x="5931660" y="3429000"/>
            <a:ext cx="253640" cy="425941"/>
            <a:chOff x="5986272" y="5021580"/>
            <a:chExt cx="120345" cy="297180"/>
          </a:xfrm>
        </p:grpSpPr>
        <p:sp>
          <p:nvSpPr>
            <p:cNvPr id="30" name="Rectangle 34">
              <a:extLst>
                <a:ext uri="{FF2B5EF4-FFF2-40B4-BE49-F238E27FC236}">
                  <a16:creationId xmlns:a16="http://schemas.microsoft.com/office/drawing/2014/main" id="{1AFCDE38-C78A-0FF2-7A39-350EFE8B10CF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Arrow: Chevron 35">
              <a:extLst>
                <a:ext uri="{FF2B5EF4-FFF2-40B4-BE49-F238E27FC236}">
                  <a16:creationId xmlns:a16="http://schemas.microsoft.com/office/drawing/2014/main" id="{CD3E7287-BFCC-C3DE-5F6D-593BEEE5788D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3" name="TextBox 3">
            <a:extLst>
              <a:ext uri="{FF2B5EF4-FFF2-40B4-BE49-F238E27FC236}">
                <a16:creationId xmlns:a16="http://schemas.microsoft.com/office/drawing/2014/main" id="{6B1D693E-0152-A07D-56C1-6CF57446FBF1}"/>
              </a:ext>
            </a:extLst>
          </p:cNvPr>
          <p:cNvSpPr txBox="1"/>
          <p:nvPr/>
        </p:nvSpPr>
        <p:spPr>
          <a:xfrm>
            <a:off x="-370199" y="1317502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Macro</a:t>
            </a:r>
            <a:r>
              <a:rPr lang="de-DE" sz="1200" b="1">
                <a:latin typeface="Google Sans Text"/>
              </a:rPr>
              <a:t> F1-score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34" name="Straight Connector 32">
            <a:extLst>
              <a:ext uri="{FF2B5EF4-FFF2-40B4-BE49-F238E27FC236}">
                <a16:creationId xmlns:a16="http://schemas.microsoft.com/office/drawing/2014/main" id="{75342465-0F50-22E0-1CEA-DBE96BC59665}"/>
              </a:ext>
            </a:extLst>
          </p:cNvPr>
          <p:cNvCxnSpPr>
            <a:cxnSpLocks/>
          </p:cNvCxnSpPr>
          <p:nvPr/>
        </p:nvCxnSpPr>
        <p:spPr>
          <a:xfrm flipH="1" flipV="1">
            <a:off x="214415" y="1589719"/>
            <a:ext cx="5377661" cy="3436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">
            <a:extLst>
              <a:ext uri="{FF2B5EF4-FFF2-40B4-BE49-F238E27FC236}">
                <a16:creationId xmlns:a16="http://schemas.microsoft.com/office/drawing/2014/main" id="{7DB1028C-A850-1020-9E4A-07982DBE20F6}"/>
              </a:ext>
            </a:extLst>
          </p:cNvPr>
          <p:cNvSpPr txBox="1"/>
          <p:nvPr/>
        </p:nvSpPr>
        <p:spPr>
          <a:xfrm>
            <a:off x="-370199" y="3567928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 err="1">
                <a:latin typeface="Google Sans Text"/>
              </a:rPr>
              <a:t>Explanations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37" name="Rectangle 6">
            <a:extLst>
              <a:ext uri="{FF2B5EF4-FFF2-40B4-BE49-F238E27FC236}">
                <a16:creationId xmlns:a16="http://schemas.microsoft.com/office/drawing/2014/main" id="{C0BAE2A4-0428-F98B-FEEE-55978D77F03C}"/>
              </a:ext>
            </a:extLst>
          </p:cNvPr>
          <p:cNvSpPr/>
          <p:nvPr/>
        </p:nvSpPr>
        <p:spPr>
          <a:xfrm>
            <a:off x="213531" y="5049092"/>
            <a:ext cx="5455696" cy="1352039"/>
          </a:xfrm>
          <a:prstGeom prst="rect">
            <a:avLst/>
          </a:prstGeom>
          <a:solidFill>
            <a:srgbClr val="004890">
              <a:alpha val="1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oogle Sans Text"/>
            </a:endParaRPr>
          </a:p>
        </p:txBody>
      </p:sp>
      <p:cxnSp>
        <p:nvCxnSpPr>
          <p:cNvPr id="14" name="Straight Connector 32">
            <a:extLst>
              <a:ext uri="{FF2B5EF4-FFF2-40B4-BE49-F238E27FC236}">
                <a16:creationId xmlns:a16="http://schemas.microsoft.com/office/drawing/2014/main" id="{292F0850-27A0-C776-453C-4B69287D2C01}"/>
              </a:ext>
            </a:extLst>
          </p:cNvPr>
          <p:cNvCxnSpPr>
            <a:cxnSpLocks/>
          </p:cNvCxnSpPr>
          <p:nvPr/>
        </p:nvCxnSpPr>
        <p:spPr>
          <a:xfrm flipH="1" flipV="1">
            <a:off x="261683" y="5268281"/>
            <a:ext cx="5330393" cy="21702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3">
            <a:extLst>
              <a:ext uri="{FF2B5EF4-FFF2-40B4-BE49-F238E27FC236}">
                <a16:creationId xmlns:a16="http://schemas.microsoft.com/office/drawing/2014/main" id="{0F7AFD53-2CFC-3486-09D7-81298F039FE9}"/>
              </a:ext>
            </a:extLst>
          </p:cNvPr>
          <p:cNvSpPr txBox="1"/>
          <p:nvPr/>
        </p:nvSpPr>
        <p:spPr>
          <a:xfrm>
            <a:off x="-370202" y="5036889"/>
            <a:ext cx="2189844" cy="275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200" b="1">
                <a:latin typeface="Google Sans Text"/>
              </a:rPr>
              <a:t>Data </a:t>
            </a:r>
            <a:r>
              <a:rPr lang="de-DE" sz="1200" b="1" err="1">
                <a:latin typeface="Google Sans Text"/>
              </a:rPr>
              <a:t>splitting</a:t>
            </a:r>
            <a:r>
              <a:rPr lang="de-DE" sz="1200" b="1">
                <a:latin typeface="Google Sans Text"/>
              </a:rPr>
              <a:t>:</a:t>
            </a:r>
            <a:endParaRPr lang="en-US" sz="1200" b="1">
              <a:solidFill>
                <a:srgbClr val="1A1C1E"/>
              </a:solidFill>
              <a:effectLst/>
              <a:latin typeface="Google Sans Text"/>
            </a:endParaRP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7BC15D76-D9B1-8E3C-FE31-A9A03AEBC496}"/>
              </a:ext>
            </a:extLst>
          </p:cNvPr>
          <p:cNvSpPr txBox="1"/>
          <p:nvPr/>
        </p:nvSpPr>
        <p:spPr>
          <a:xfrm>
            <a:off x="261683" y="5399356"/>
            <a:ext cx="4273911" cy="6619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70% of the data is allocated to the training set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latin typeface="Google Sans Text"/>
              </a:rPr>
              <a:t>The remaining 30% is reserved for the test set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1A1C1E"/>
                </a:solidFill>
                <a:effectLst/>
                <a:latin typeface="Google Sans Text"/>
              </a:rPr>
              <a:t>We use 5-fold cross</a:t>
            </a:r>
            <a:r>
              <a:rPr lang="en-US" sz="1200">
                <a:solidFill>
                  <a:srgbClr val="1A1C1E"/>
                </a:solidFill>
                <a:latin typeface="Google Sans Text"/>
              </a:rPr>
              <a:t> validation for all models in the training set</a:t>
            </a:r>
            <a:r>
              <a:rPr lang="en-US" sz="1100">
                <a:solidFill>
                  <a:srgbClr val="1A1C1E"/>
                </a:solidFill>
                <a:latin typeface="Google Sans Text"/>
              </a:rPr>
              <a:t>.</a:t>
            </a:r>
            <a:endParaRPr lang="en-US" sz="1100">
              <a:solidFill>
                <a:srgbClr val="1A1C1E"/>
              </a:solidFill>
              <a:effectLst/>
              <a:latin typeface="Google Sans Text"/>
            </a:endParaRPr>
          </a:p>
        </p:txBody>
      </p:sp>
    </p:spTree>
    <p:extLst>
      <p:ext uri="{BB962C8B-B14F-4D97-AF65-F5344CB8AC3E}">
        <p14:creationId xmlns:p14="http://schemas.microsoft.com/office/powerpoint/2010/main" val="3889302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29A0264-86F6-0C51-73F5-B0C25F5E1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Model results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lasso</a:t>
            </a:r>
            <a:r>
              <a:rPr lang="de-DE"/>
              <a:t>, </a:t>
            </a:r>
            <a:r>
              <a:rPr lang="de-DE" err="1"/>
              <a:t>ridge</a:t>
            </a:r>
            <a:r>
              <a:rPr lang="de-DE"/>
              <a:t>, </a:t>
            </a:r>
            <a:r>
              <a:rPr lang="de-DE" err="1"/>
              <a:t>random</a:t>
            </a:r>
            <a:r>
              <a:rPr lang="de-DE"/>
              <a:t> </a:t>
            </a:r>
            <a:r>
              <a:rPr lang="de-DE" err="1"/>
              <a:t>forest</a:t>
            </a:r>
            <a:r>
              <a:rPr lang="de-DE"/>
              <a:t> and </a:t>
            </a:r>
            <a:r>
              <a:rPr lang="de-DE" err="1"/>
              <a:t>gradient</a:t>
            </a:r>
            <a:r>
              <a:rPr lang="de-DE"/>
              <a:t> </a:t>
            </a:r>
            <a:r>
              <a:rPr lang="de-DE" err="1"/>
              <a:t>boosting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CA4D8F-66A7-A66D-1E59-DA523A7518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Model </a:t>
            </a:r>
            <a:r>
              <a:rPr lang="de-DE" err="1"/>
              <a:t>performance</a:t>
            </a:r>
            <a:r>
              <a:rPr lang="de-DE"/>
              <a:t> </a:t>
            </a:r>
            <a:r>
              <a:rPr lang="de-DE" err="1"/>
              <a:t>comparison</a:t>
            </a:r>
            <a:r>
              <a:rPr lang="de-DE"/>
              <a:t>.</a:t>
            </a:r>
            <a:endParaRPr lang="de-CH"/>
          </a:p>
        </p:txBody>
      </p:sp>
      <p:pic>
        <p:nvPicPr>
          <p:cNvPr id="7" name="Grafik 6" descr="Ein Bild, das Text, Diagramm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D3B8D63A-3721-7E27-978E-66EE1A9378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39" y="1534113"/>
            <a:ext cx="5257984" cy="3785748"/>
          </a:xfrm>
          <a:prstGeom prst="rect">
            <a:avLst/>
          </a:prstGeom>
        </p:spPr>
      </p:pic>
      <p:grpSp>
        <p:nvGrpSpPr>
          <p:cNvPr id="8" name="Group 19">
            <a:extLst>
              <a:ext uri="{FF2B5EF4-FFF2-40B4-BE49-F238E27FC236}">
                <a16:creationId xmlns:a16="http://schemas.microsoft.com/office/drawing/2014/main" id="{948ECFA2-3689-5AFA-7984-D8177D55C229}"/>
              </a:ext>
            </a:extLst>
          </p:cNvPr>
          <p:cNvGrpSpPr/>
          <p:nvPr/>
        </p:nvGrpSpPr>
        <p:grpSpPr>
          <a:xfrm>
            <a:off x="6112169" y="1096221"/>
            <a:ext cx="5754705" cy="329271"/>
            <a:chOff x="3700793" y="1108577"/>
            <a:chExt cx="8166087" cy="329271"/>
          </a:xfrm>
        </p:grpSpPr>
        <p:sp>
          <p:nvSpPr>
            <p:cNvPr id="9" name="Rectangle 13">
              <a:extLst>
                <a:ext uri="{FF2B5EF4-FFF2-40B4-BE49-F238E27FC236}">
                  <a16:creationId xmlns:a16="http://schemas.microsoft.com/office/drawing/2014/main" id="{2F78D2B3-D1A5-0D05-3584-CC5D6369B2E1}"/>
                </a:ext>
              </a:extLst>
            </p:cNvPr>
            <p:cNvSpPr/>
            <p:nvPr/>
          </p:nvSpPr>
          <p:spPr>
            <a:xfrm>
              <a:off x="3700793" y="1108577"/>
              <a:ext cx="5579731" cy="288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>
                  <a:solidFill>
                    <a:sysClr val="windowText" lastClr="000000"/>
                  </a:solidFill>
                  <a:latin typeface="Google Sans Text"/>
                  <a:cs typeface="Arial" panose="020B0604020202020204" pitchFamily="34" charset="0"/>
                </a:rPr>
                <a:t>Key Insights:</a:t>
              </a:r>
            </a:p>
          </p:txBody>
        </p:sp>
        <p:cxnSp>
          <p:nvCxnSpPr>
            <p:cNvPr id="10" name="Straight Connector 14">
              <a:extLst>
                <a:ext uri="{FF2B5EF4-FFF2-40B4-BE49-F238E27FC236}">
                  <a16:creationId xmlns:a16="http://schemas.microsoft.com/office/drawing/2014/main" id="{FD63ACC5-EDDE-BD02-8686-762F4AFEE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9954" y="1413377"/>
              <a:ext cx="7966926" cy="24471"/>
            </a:xfrm>
            <a:prstGeom prst="line">
              <a:avLst/>
            </a:prstGeom>
            <a:ln w="19050">
              <a:gradFill>
                <a:gsLst>
                  <a:gs pos="0">
                    <a:schemeClr val="accent1"/>
                  </a:gs>
                  <a:gs pos="100000">
                    <a:schemeClr val="accent4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31">
            <a:extLst>
              <a:ext uri="{FF2B5EF4-FFF2-40B4-BE49-F238E27FC236}">
                <a16:creationId xmlns:a16="http://schemas.microsoft.com/office/drawing/2014/main" id="{4DA0A40C-DF93-E50E-9CC1-0ED0CB2EC71F}"/>
              </a:ext>
            </a:extLst>
          </p:cNvPr>
          <p:cNvSpPr/>
          <p:nvPr/>
        </p:nvSpPr>
        <p:spPr>
          <a:xfrm>
            <a:off x="6609671" y="1476963"/>
            <a:ext cx="4432081" cy="4907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 is the winner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a Macro F1-score of 0.592, the Random Forest model shows a moderate predictive power.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performs much better than random guessing but is not yet highly accurate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dient Boosting performs worse than RF</a:t>
            </a: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BM is more sensitive to the hyperparameters (compared to RF), we performed a k-fold cross validation grid search on the tree-depth (4,6 and 8), the learning rate (0.01 to 0.05) and the number of trees (initially with 2’000, the model selected 463). The best hyperparameters could be outside these ranges.</a:t>
            </a:r>
          </a:p>
        </p:txBody>
      </p:sp>
      <p:cxnSp>
        <p:nvCxnSpPr>
          <p:cNvPr id="12" name="Straight Connector 32">
            <a:extLst>
              <a:ext uri="{FF2B5EF4-FFF2-40B4-BE49-F238E27FC236}">
                <a16:creationId xmlns:a16="http://schemas.microsoft.com/office/drawing/2014/main" id="{D36ABDEF-99DA-D921-4890-B63E1D4CB81B}"/>
              </a:ext>
            </a:extLst>
          </p:cNvPr>
          <p:cNvCxnSpPr>
            <a:cxnSpLocks/>
          </p:cNvCxnSpPr>
          <p:nvPr/>
        </p:nvCxnSpPr>
        <p:spPr>
          <a:xfrm>
            <a:off x="6027156" y="1632857"/>
            <a:ext cx="0" cy="3687004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33">
            <a:extLst>
              <a:ext uri="{FF2B5EF4-FFF2-40B4-BE49-F238E27FC236}">
                <a16:creationId xmlns:a16="http://schemas.microsoft.com/office/drawing/2014/main" id="{ABAB97A2-F784-EB11-F608-035BB0BEBCC3}"/>
              </a:ext>
            </a:extLst>
          </p:cNvPr>
          <p:cNvGrpSpPr/>
          <p:nvPr/>
        </p:nvGrpSpPr>
        <p:grpSpPr>
          <a:xfrm>
            <a:off x="5966468" y="3169148"/>
            <a:ext cx="120345" cy="297180"/>
            <a:chOff x="5986272" y="5021580"/>
            <a:chExt cx="120345" cy="297180"/>
          </a:xfrm>
        </p:grpSpPr>
        <p:sp>
          <p:nvSpPr>
            <p:cNvPr id="14" name="Rectangle 34">
              <a:extLst>
                <a:ext uri="{FF2B5EF4-FFF2-40B4-BE49-F238E27FC236}">
                  <a16:creationId xmlns:a16="http://schemas.microsoft.com/office/drawing/2014/main" id="{F8300A76-BEF7-E4BE-4D80-3C3C6B1AB877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Arrow: Chevron 35">
              <a:extLst>
                <a:ext uri="{FF2B5EF4-FFF2-40B4-BE49-F238E27FC236}">
                  <a16:creationId xmlns:a16="http://schemas.microsoft.com/office/drawing/2014/main" id="{25416CA6-5F4E-BC34-D7C6-A3B917A9452B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cxnSp>
        <p:nvCxnSpPr>
          <p:cNvPr id="19" name="Straight Connector 32">
            <a:extLst>
              <a:ext uri="{FF2B5EF4-FFF2-40B4-BE49-F238E27FC236}">
                <a16:creationId xmlns:a16="http://schemas.microsoft.com/office/drawing/2014/main" id="{3EFFBAC6-6E75-E95F-02AA-1A22879FACCC}"/>
              </a:ext>
            </a:extLst>
          </p:cNvPr>
          <p:cNvCxnSpPr>
            <a:cxnSpLocks/>
          </p:cNvCxnSpPr>
          <p:nvPr/>
        </p:nvCxnSpPr>
        <p:spPr>
          <a:xfrm flipH="1">
            <a:off x="469374" y="1425492"/>
            <a:ext cx="5418621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3">
            <a:extLst>
              <a:ext uri="{FF2B5EF4-FFF2-40B4-BE49-F238E27FC236}">
                <a16:creationId xmlns:a16="http://schemas.microsoft.com/office/drawing/2014/main" id="{E03CAF4A-130F-8279-A906-E3C2E2F6DEBD}"/>
              </a:ext>
            </a:extLst>
          </p:cNvPr>
          <p:cNvSpPr txBox="1"/>
          <p:nvPr/>
        </p:nvSpPr>
        <p:spPr>
          <a:xfrm>
            <a:off x="333628" y="1114866"/>
            <a:ext cx="2189844" cy="2846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  <a:spcAft>
                <a:spcPts val="1350"/>
              </a:spcAft>
              <a:buNone/>
            </a:pPr>
            <a:r>
              <a:rPr lang="de-DE" sz="1400">
                <a:latin typeface="Google Sans Text"/>
              </a:rPr>
              <a:t>Performance </a:t>
            </a:r>
            <a:r>
              <a:rPr lang="de-DE" sz="1400" err="1">
                <a:latin typeface="Google Sans Text"/>
              </a:rPr>
              <a:t>Comparison</a:t>
            </a:r>
            <a:r>
              <a:rPr lang="de-DE" sz="1400">
                <a:latin typeface="Google Sans Text"/>
              </a:rPr>
              <a:t>:</a:t>
            </a:r>
            <a:endParaRPr lang="en-US" sz="1400">
              <a:solidFill>
                <a:srgbClr val="1A1C1E"/>
              </a:solidFill>
              <a:effectLst/>
              <a:latin typeface="Google Sans Text"/>
            </a:endParaRPr>
          </a:p>
        </p:txBody>
      </p:sp>
      <p:cxnSp>
        <p:nvCxnSpPr>
          <p:cNvPr id="25" name="Straight Connector 9">
            <a:extLst>
              <a:ext uri="{FF2B5EF4-FFF2-40B4-BE49-F238E27FC236}">
                <a16:creationId xmlns:a16="http://schemas.microsoft.com/office/drawing/2014/main" id="{7CDF22C7-C631-32D9-F777-C678C29823CF}"/>
              </a:ext>
            </a:extLst>
          </p:cNvPr>
          <p:cNvCxnSpPr/>
          <p:nvPr/>
        </p:nvCxnSpPr>
        <p:spPr>
          <a:xfrm>
            <a:off x="356196" y="5763331"/>
            <a:ext cx="11479608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10">
            <a:extLst>
              <a:ext uri="{FF2B5EF4-FFF2-40B4-BE49-F238E27FC236}">
                <a16:creationId xmlns:a16="http://schemas.microsoft.com/office/drawing/2014/main" id="{E34AE804-C572-E7D1-0EE8-795ABC6C30F0}"/>
              </a:ext>
            </a:extLst>
          </p:cNvPr>
          <p:cNvGrpSpPr/>
          <p:nvPr/>
        </p:nvGrpSpPr>
        <p:grpSpPr>
          <a:xfrm rot="5400000">
            <a:off x="5928952" y="5324608"/>
            <a:ext cx="355328" cy="877447"/>
            <a:chOff x="5986272" y="5021580"/>
            <a:chExt cx="120345" cy="297180"/>
          </a:xfrm>
        </p:grpSpPr>
        <p:sp>
          <p:nvSpPr>
            <p:cNvPr id="27" name="Rectangle 11">
              <a:extLst>
                <a:ext uri="{FF2B5EF4-FFF2-40B4-BE49-F238E27FC236}">
                  <a16:creationId xmlns:a16="http://schemas.microsoft.com/office/drawing/2014/main" id="{966E2687-5F3F-C46A-8F83-BE134B3C3037}"/>
                </a:ext>
              </a:extLst>
            </p:cNvPr>
            <p:cNvSpPr/>
            <p:nvPr/>
          </p:nvSpPr>
          <p:spPr>
            <a:xfrm>
              <a:off x="5986272" y="5021580"/>
              <a:ext cx="115824" cy="2971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Arrow: Chevron 12">
              <a:extLst>
                <a:ext uri="{FF2B5EF4-FFF2-40B4-BE49-F238E27FC236}">
                  <a16:creationId xmlns:a16="http://schemas.microsoft.com/office/drawing/2014/main" id="{172ADE0A-6313-8867-A8B1-0694E3348CBD}"/>
                </a:ext>
              </a:extLst>
            </p:cNvPr>
            <p:cNvSpPr/>
            <p:nvPr/>
          </p:nvSpPr>
          <p:spPr>
            <a:xfrm>
              <a:off x="5989777" y="5067131"/>
              <a:ext cx="116840" cy="211125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29" name="Rectangle 13">
            <a:extLst>
              <a:ext uri="{FF2B5EF4-FFF2-40B4-BE49-F238E27FC236}">
                <a16:creationId xmlns:a16="http://schemas.microsoft.com/office/drawing/2014/main" id="{7718618F-6503-23C9-41B6-A29A055A007A}"/>
              </a:ext>
            </a:extLst>
          </p:cNvPr>
          <p:cNvSpPr/>
          <p:nvPr/>
        </p:nvSpPr>
        <p:spPr>
          <a:xfrm>
            <a:off x="334963" y="5927646"/>
            <a:ext cx="11522075" cy="562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 is selected to be the final model.</a:t>
            </a:r>
          </a:p>
        </p:txBody>
      </p:sp>
    </p:spTree>
    <p:extLst>
      <p:ext uri="{BB962C8B-B14F-4D97-AF65-F5344CB8AC3E}">
        <p14:creationId xmlns:p14="http://schemas.microsoft.com/office/powerpoint/2010/main" val="24796881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-téma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B2B65"/>
      </a:accent1>
      <a:accent2>
        <a:srgbClr val="9BA7C0"/>
      </a:accent2>
      <a:accent3>
        <a:srgbClr val="D0A616"/>
      </a:accent3>
      <a:accent4>
        <a:srgbClr val="D9D9D9"/>
      </a:accent4>
      <a:accent5>
        <a:srgbClr val="FFFFFF"/>
      </a:accent5>
      <a:accent6>
        <a:srgbClr val="000000"/>
      </a:accent6>
      <a:hlink>
        <a:srgbClr val="0563C1"/>
      </a:hlink>
      <a:folHlink>
        <a:srgbClr val="954F72"/>
      </a:folHlink>
    </a:clrScheme>
    <a:fontScheme name="2. egyéni séma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BCB9ECB3B0DFE42A61CA68338208089" ma:contentTypeVersion="3" ma:contentTypeDescription="Ein neues Dokument erstellen." ma:contentTypeScope="" ma:versionID="71be1703cecd4c58f95139c57528215a">
  <xsd:schema xmlns:xsd="http://www.w3.org/2001/XMLSchema" xmlns:xs="http://www.w3.org/2001/XMLSchema" xmlns:p="http://schemas.microsoft.com/office/2006/metadata/properties" xmlns:ns2="938da60d-4642-413d-85aa-e98b25a009ac" targetNamespace="http://schemas.microsoft.com/office/2006/metadata/properties" ma:root="true" ma:fieldsID="cc415246af6348f34d4068639f49f651" ns2:_="">
    <xsd:import namespace="938da60d-4642-413d-85aa-e98b25a009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8da60d-4642-413d-85aa-e98b25a009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25FAD2-FCA8-43C9-9525-8FDB3DE28387}">
  <ds:schemaRefs>
    <ds:schemaRef ds:uri="938da60d-4642-413d-85aa-e98b25a009a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D39927-5167-495E-B712-94E02D38D6F6}">
  <ds:schemaRefs>
    <ds:schemaRef ds:uri="938da60d-4642-413d-85aa-e98b25a009a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82C16AB-7DFB-44A9-A607-7CDD9BADD8A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Application>Microsoft Office PowerPoint</Application>
  <PresentationFormat>Widescreen</PresentationFormat>
  <Slides>21</Slides>
  <Notes>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Office Theme</vt:lpstr>
      <vt:lpstr>Office-té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indermann, Filip</dc:creator>
  <cp:revision>1</cp:revision>
  <dcterms:created xsi:type="dcterms:W3CDTF">2025-05-20T10:26:35Z</dcterms:created>
  <dcterms:modified xsi:type="dcterms:W3CDTF">2025-11-18T17:4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CB9ECB3B0DFE42A61CA68338208089</vt:lpwstr>
  </property>
  <property fmtid="{D5CDD505-2E9C-101B-9397-08002B2CF9AE}" pid="3" name="MediaServiceImageTags">
    <vt:lpwstr/>
  </property>
</Properties>
</file>